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2" r:id="rId1"/>
  </p:sldMasterIdLst>
  <p:notesMasterIdLst>
    <p:notesMasterId r:id="rId29"/>
  </p:notesMasterIdLst>
  <p:sldIdLst>
    <p:sldId id="307" r:id="rId2"/>
    <p:sldId id="308" r:id="rId3"/>
    <p:sldId id="309" r:id="rId4"/>
    <p:sldId id="310" r:id="rId5"/>
    <p:sldId id="311" r:id="rId6"/>
    <p:sldId id="312" r:id="rId7"/>
    <p:sldId id="313" r:id="rId8"/>
    <p:sldId id="314" r:id="rId9"/>
    <p:sldId id="315" r:id="rId10"/>
    <p:sldId id="316" r:id="rId11"/>
    <p:sldId id="317" r:id="rId12"/>
    <p:sldId id="318" r:id="rId13"/>
    <p:sldId id="319" r:id="rId14"/>
    <p:sldId id="320" r:id="rId15"/>
    <p:sldId id="321" r:id="rId16"/>
    <p:sldId id="322" r:id="rId17"/>
    <p:sldId id="323" r:id="rId18"/>
    <p:sldId id="329" r:id="rId19"/>
    <p:sldId id="330" r:id="rId20"/>
    <p:sldId id="331" r:id="rId21"/>
    <p:sldId id="332" r:id="rId22"/>
    <p:sldId id="333" r:id="rId23"/>
    <p:sldId id="334" r:id="rId24"/>
    <p:sldId id="335" r:id="rId25"/>
    <p:sldId id="336" r:id="rId26"/>
    <p:sldId id="337" r:id="rId27"/>
    <p:sldId id="338" r:id="rId2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felein Maximilian, SF5-CN-V-23" initials="BMS" lastIdx="4" clrIdx="0">
    <p:extLst>
      <p:ext uri="{19B8F6BF-5375-455C-9EA6-DF929625EA0E}">
        <p15:presenceInfo xmlns:p15="http://schemas.microsoft.com/office/powerpoint/2012/main" userId="S-1-5-21-3402732107-103683034-2188813700-45119" providerId="AD"/>
      </p:ext>
    </p:extLst>
  </p:cmAuthor>
  <p:cmAuthor id="2" name="Krishnan Purushothaman, BBS-82" initials="KPB" lastIdx="3" clrIdx="1">
    <p:extLst>
      <p:ext uri="{19B8F6BF-5375-455C-9EA6-DF929625EA0E}">
        <p15:presenceInfo xmlns:p15="http://schemas.microsoft.com/office/powerpoint/2012/main" userId="S-1-5-21-1417001333-1972579041-725345543-66721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C69D3"/>
    <a:srgbClr val="9A9EAA"/>
    <a:srgbClr val="E5D2C4"/>
    <a:srgbClr val="F1DCC7"/>
    <a:srgbClr val="F5E1C8"/>
    <a:srgbClr val="FCF1D1"/>
    <a:srgbClr val="FAF9DB"/>
    <a:srgbClr val="BFBFBF"/>
    <a:srgbClr val="DEE3EA"/>
    <a:srgbClr val="BEC6D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3941" autoAdjust="0"/>
    <p:restoredTop sz="94660"/>
  </p:normalViewPr>
  <p:slideViewPr>
    <p:cSldViewPr snapToGrid="0" showGuides="1">
      <p:cViewPr varScale="1">
        <p:scale>
          <a:sx n="108" d="100"/>
          <a:sy n="108" d="100"/>
        </p:scale>
        <p:origin x="78" y="18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commentAuthors" Target="comment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23DC7E-545F-4537-850F-CC5C2B410559}" type="datetimeFigureOut">
              <a:rPr lang="de-DE" smtClean="0"/>
              <a:pPr/>
              <a:t>11.10.2018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Textmasterformat bearbeiten</a:t>
            </a:r>
          </a:p>
          <a:p>
            <a:pPr marL="360000" lvl="1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Zweite Ebene</a:t>
            </a:r>
          </a:p>
          <a:p>
            <a:pPr marL="540000" lvl="2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Dritte Ebene</a:t>
            </a:r>
          </a:p>
          <a:p>
            <a:pPr marL="720000" lvl="3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Vierte Ebene</a:t>
            </a:r>
          </a:p>
          <a:p>
            <a:pPr marL="900000" lvl="4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7A725A-9256-4EC5-8CDB-4CC5D97770D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02495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600" kern="1200" dirty="0">
        <a:solidFill>
          <a:srgbClr val="343434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6"/>
          <p:cNvSpPr>
            <a:spLocks noGrp="1"/>
          </p:cNvSpPr>
          <p:nvPr>
            <p:ph type="pic" sz="quarter" idx="19"/>
          </p:nvPr>
        </p:nvSpPr>
        <p:spPr>
          <a:xfrm>
            <a:off x="-9843" y="-6669"/>
            <a:ext cx="12204066" cy="6868059"/>
          </a:xfrm>
          <a:custGeom>
            <a:avLst/>
            <a:gdLst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0 w 9144000"/>
              <a:gd name="connsiteY6" fmla="*/ 5159495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190500 w 9144000"/>
              <a:gd name="connsiteY6" fmla="*/ 4493539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3891 w 9144000"/>
              <a:gd name="connsiteY5" fmla="*/ 562818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71516 w 9144000"/>
              <a:gd name="connsiteY5" fmla="*/ 5818461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19166 w 9144000"/>
              <a:gd name="connsiteY5" fmla="*/ 5847002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00116 w 9144000"/>
              <a:gd name="connsiteY5" fmla="*/ 5942139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894012 w 9144000"/>
              <a:gd name="connsiteY3" fmla="*/ 6818497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18497"/>
              <a:gd name="connsiteX1" fmla="*/ 9144000 w 9144000"/>
              <a:gd name="connsiteY1" fmla="*/ 0 h 6818497"/>
              <a:gd name="connsiteX2" fmla="*/ 9144000 w 9144000"/>
              <a:gd name="connsiteY2" fmla="*/ 4928377 h 6818497"/>
              <a:gd name="connsiteX3" fmla="*/ 3894012 w 9144000"/>
              <a:gd name="connsiteY3" fmla="*/ 6818497 h 6818497"/>
              <a:gd name="connsiteX4" fmla="*/ 3701776 w 9144000"/>
              <a:gd name="connsiteY4" fmla="*/ 6702094 h 6818497"/>
              <a:gd name="connsiteX5" fmla="*/ 6022210 w 9144000"/>
              <a:gd name="connsiteY5" fmla="*/ 5928708 h 6818497"/>
              <a:gd name="connsiteX6" fmla="*/ 9525 w 9144000"/>
              <a:gd name="connsiteY6" fmla="*/ 4769436 h 6818497"/>
              <a:gd name="connsiteX7" fmla="*/ 0 w 9144000"/>
              <a:gd name="connsiteY7" fmla="*/ 0 h 6818497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928377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842754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47039"/>
              <a:gd name="connsiteX1" fmla="*/ 9144000 w 9144000"/>
              <a:gd name="connsiteY1" fmla="*/ 28541 h 6847039"/>
              <a:gd name="connsiteX2" fmla="*/ 9144000 w 9144000"/>
              <a:gd name="connsiteY2" fmla="*/ 4871295 h 6847039"/>
              <a:gd name="connsiteX3" fmla="*/ 3894012 w 9144000"/>
              <a:gd name="connsiteY3" fmla="*/ 6847038 h 6847039"/>
              <a:gd name="connsiteX4" fmla="*/ 3688329 w 9144000"/>
              <a:gd name="connsiteY4" fmla="*/ 6847039 h 6847039"/>
              <a:gd name="connsiteX5" fmla="*/ 6022210 w 9144000"/>
              <a:gd name="connsiteY5" fmla="*/ 5957249 h 6847039"/>
              <a:gd name="connsiteX6" fmla="*/ 9525 w 9144000"/>
              <a:gd name="connsiteY6" fmla="*/ 4797977 h 6847039"/>
              <a:gd name="connsiteX7" fmla="*/ 0 w 9144000"/>
              <a:gd name="connsiteY7" fmla="*/ 0 h 6847039"/>
              <a:gd name="connsiteX0" fmla="*/ 0 w 9144000"/>
              <a:gd name="connsiteY0" fmla="*/ 9514 h 6856553"/>
              <a:gd name="connsiteX1" fmla="*/ 9134475 w 9144000"/>
              <a:gd name="connsiteY1" fmla="*/ 0 h 6856553"/>
              <a:gd name="connsiteX2" fmla="*/ 9144000 w 9144000"/>
              <a:gd name="connsiteY2" fmla="*/ 4880809 h 6856553"/>
              <a:gd name="connsiteX3" fmla="*/ 3894012 w 9144000"/>
              <a:gd name="connsiteY3" fmla="*/ 6856552 h 6856553"/>
              <a:gd name="connsiteX4" fmla="*/ 3688329 w 9144000"/>
              <a:gd name="connsiteY4" fmla="*/ 6856553 h 6856553"/>
              <a:gd name="connsiteX5" fmla="*/ 6022210 w 9144000"/>
              <a:gd name="connsiteY5" fmla="*/ 5966763 h 6856553"/>
              <a:gd name="connsiteX6" fmla="*/ 9525 w 9144000"/>
              <a:gd name="connsiteY6" fmla="*/ 4807491 h 6856553"/>
              <a:gd name="connsiteX7" fmla="*/ 0 w 9144000"/>
              <a:gd name="connsiteY7" fmla="*/ 9514 h 6856553"/>
              <a:gd name="connsiteX0" fmla="*/ 3810 w 9147810"/>
              <a:gd name="connsiteY0" fmla="*/ 9514 h 6856553"/>
              <a:gd name="connsiteX1" fmla="*/ 9138285 w 9147810"/>
              <a:gd name="connsiteY1" fmla="*/ 0 h 6856553"/>
              <a:gd name="connsiteX2" fmla="*/ 9147810 w 9147810"/>
              <a:gd name="connsiteY2" fmla="*/ 4880809 h 6856553"/>
              <a:gd name="connsiteX3" fmla="*/ 3897822 w 9147810"/>
              <a:gd name="connsiteY3" fmla="*/ 6856552 h 6856553"/>
              <a:gd name="connsiteX4" fmla="*/ 3692139 w 9147810"/>
              <a:gd name="connsiteY4" fmla="*/ 6856553 h 6856553"/>
              <a:gd name="connsiteX5" fmla="*/ 6026020 w 9147810"/>
              <a:gd name="connsiteY5" fmla="*/ 5966763 h 6856553"/>
              <a:gd name="connsiteX6" fmla="*/ 0 w 9147810"/>
              <a:gd name="connsiteY6" fmla="*/ 4807491 h 6856553"/>
              <a:gd name="connsiteX7" fmla="*/ 3810 w 9147810"/>
              <a:gd name="connsiteY7" fmla="*/ 9514 h 6856553"/>
              <a:gd name="connsiteX0" fmla="*/ 3810 w 9147810"/>
              <a:gd name="connsiteY0" fmla="*/ 11417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11417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83046 w 9147810"/>
              <a:gd name="connsiteY5" fmla="*/ 638141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099333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120115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58456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62262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59600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61979 h 6862262"/>
              <a:gd name="connsiteX7" fmla="*/ 3810 w 9147810"/>
              <a:gd name="connsiteY7" fmla="*/ 3806 h 6862262"/>
              <a:gd name="connsiteX0" fmla="*/ 3810 w 9147810"/>
              <a:gd name="connsiteY0" fmla="*/ 3806 h 6858975"/>
              <a:gd name="connsiteX1" fmla="*/ 9145905 w 9147810"/>
              <a:gd name="connsiteY1" fmla="*/ 0 h 6858975"/>
              <a:gd name="connsiteX2" fmla="*/ 9147810 w 9147810"/>
              <a:gd name="connsiteY2" fmla="*/ 4615799 h 6858975"/>
              <a:gd name="connsiteX3" fmla="*/ 4300470 w 9147810"/>
              <a:gd name="connsiteY3" fmla="*/ 6858975 h 6858975"/>
              <a:gd name="connsiteX4" fmla="*/ 4186195 w 9147810"/>
              <a:gd name="connsiteY4" fmla="*/ 6855127 h 6858975"/>
              <a:gd name="connsiteX5" fmla="*/ 5175076 w 9147810"/>
              <a:gd name="connsiteY5" fmla="*/ 6398063 h 6858975"/>
              <a:gd name="connsiteX6" fmla="*/ 0 w 9147810"/>
              <a:gd name="connsiteY6" fmla="*/ 4961979 h 6858975"/>
              <a:gd name="connsiteX7" fmla="*/ 3810 w 9147810"/>
              <a:gd name="connsiteY7" fmla="*/ 3806 h 6858975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300470 w 9147810"/>
              <a:gd name="connsiteY3" fmla="*/ 6858975 h 6859884"/>
              <a:gd name="connsiteX4" fmla="*/ 4177266 w 9147810"/>
              <a:gd name="connsiteY4" fmla="*/ 6859884 h 6859884"/>
              <a:gd name="connsiteX5" fmla="*/ 5175076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75076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80435 w 9147810"/>
              <a:gd name="connsiteY5" fmla="*/ 6395685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80838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5480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2024 w 9146024"/>
              <a:gd name="connsiteY0" fmla="*/ 3806 h 6859884"/>
              <a:gd name="connsiteX1" fmla="*/ 9144119 w 9146024"/>
              <a:gd name="connsiteY1" fmla="*/ 0 h 6859884"/>
              <a:gd name="connsiteX2" fmla="*/ 9146024 w 9146024"/>
              <a:gd name="connsiteY2" fmla="*/ 4615799 h 6859884"/>
              <a:gd name="connsiteX3" fmla="*/ 4284397 w 9146024"/>
              <a:gd name="connsiteY3" fmla="*/ 6858975 h 6859884"/>
              <a:gd name="connsiteX4" fmla="*/ 4173694 w 9146024"/>
              <a:gd name="connsiteY4" fmla="*/ 6859884 h 6859884"/>
              <a:gd name="connsiteX5" fmla="*/ 5176863 w 9146024"/>
              <a:gd name="connsiteY5" fmla="*/ 6398063 h 6859884"/>
              <a:gd name="connsiteX6" fmla="*/ 0 w 9146024"/>
              <a:gd name="connsiteY6" fmla="*/ 4961980 h 6859884"/>
              <a:gd name="connsiteX7" fmla="*/ 2024 w 9146024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5480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59602 h 6859884"/>
              <a:gd name="connsiteX7" fmla="*/ 3810 w 9147810"/>
              <a:gd name="connsiteY7" fmla="*/ 3806 h 6859884"/>
              <a:gd name="connsiteX0" fmla="*/ 7382 w 9151382"/>
              <a:gd name="connsiteY0" fmla="*/ 3806 h 6859884"/>
              <a:gd name="connsiteX1" fmla="*/ 9149477 w 9151382"/>
              <a:gd name="connsiteY1" fmla="*/ 0 h 6859884"/>
              <a:gd name="connsiteX2" fmla="*/ 9151382 w 9151382"/>
              <a:gd name="connsiteY2" fmla="*/ 4615799 h 6859884"/>
              <a:gd name="connsiteX3" fmla="*/ 4289755 w 9151382"/>
              <a:gd name="connsiteY3" fmla="*/ 6858975 h 6859884"/>
              <a:gd name="connsiteX4" fmla="*/ 4179052 w 9151382"/>
              <a:gd name="connsiteY4" fmla="*/ 6859884 h 6859884"/>
              <a:gd name="connsiteX5" fmla="*/ 5182221 w 9151382"/>
              <a:gd name="connsiteY5" fmla="*/ 6398063 h 6859884"/>
              <a:gd name="connsiteX6" fmla="*/ 0 w 9151382"/>
              <a:gd name="connsiteY6" fmla="*/ 4961982 h 6859884"/>
              <a:gd name="connsiteX7" fmla="*/ 7382 w 9151382"/>
              <a:gd name="connsiteY7" fmla="*/ 3806 h 6859884"/>
              <a:gd name="connsiteX0" fmla="*/ 2024 w 9151382"/>
              <a:gd name="connsiteY0" fmla="*/ 3806 h 6859884"/>
              <a:gd name="connsiteX1" fmla="*/ 9149477 w 9151382"/>
              <a:gd name="connsiteY1" fmla="*/ 0 h 6859884"/>
              <a:gd name="connsiteX2" fmla="*/ 9151382 w 9151382"/>
              <a:gd name="connsiteY2" fmla="*/ 4615799 h 6859884"/>
              <a:gd name="connsiteX3" fmla="*/ 4289755 w 9151382"/>
              <a:gd name="connsiteY3" fmla="*/ 6858975 h 6859884"/>
              <a:gd name="connsiteX4" fmla="*/ 4179052 w 9151382"/>
              <a:gd name="connsiteY4" fmla="*/ 6859884 h 6859884"/>
              <a:gd name="connsiteX5" fmla="*/ 5182221 w 9151382"/>
              <a:gd name="connsiteY5" fmla="*/ 6398063 h 6859884"/>
              <a:gd name="connsiteX6" fmla="*/ 0 w 9151382"/>
              <a:gd name="connsiteY6" fmla="*/ 4961982 h 6859884"/>
              <a:gd name="connsiteX7" fmla="*/ 2024 w 9151382"/>
              <a:gd name="connsiteY7" fmla="*/ 3806 h 6859884"/>
              <a:gd name="connsiteX0" fmla="*/ 2024 w 9153049"/>
              <a:gd name="connsiteY0" fmla="*/ 3806 h 6859884"/>
              <a:gd name="connsiteX1" fmla="*/ 9153049 w 9153049"/>
              <a:gd name="connsiteY1" fmla="*/ 0 h 6859884"/>
              <a:gd name="connsiteX2" fmla="*/ 9151382 w 9153049"/>
              <a:gd name="connsiteY2" fmla="*/ 4615799 h 6859884"/>
              <a:gd name="connsiteX3" fmla="*/ 4289755 w 9153049"/>
              <a:gd name="connsiteY3" fmla="*/ 6858975 h 6859884"/>
              <a:gd name="connsiteX4" fmla="*/ 4179052 w 9153049"/>
              <a:gd name="connsiteY4" fmla="*/ 6859884 h 6859884"/>
              <a:gd name="connsiteX5" fmla="*/ 5182221 w 9153049"/>
              <a:gd name="connsiteY5" fmla="*/ 6398063 h 6859884"/>
              <a:gd name="connsiteX6" fmla="*/ 0 w 9153049"/>
              <a:gd name="connsiteY6" fmla="*/ 4961982 h 6859884"/>
              <a:gd name="connsiteX7" fmla="*/ 2024 w 9153049"/>
              <a:gd name="connsiteY7" fmla="*/ 3806 h 685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53049" h="6859884">
                <a:moveTo>
                  <a:pt x="2024" y="3806"/>
                </a:moveTo>
                <a:lnTo>
                  <a:pt x="9153049" y="0"/>
                </a:lnTo>
                <a:cubicBezTo>
                  <a:pt x="9152493" y="1538600"/>
                  <a:pt x="9151938" y="3077199"/>
                  <a:pt x="9151382" y="4615799"/>
                </a:cubicBezTo>
                <a:lnTo>
                  <a:pt x="4289755" y="6858975"/>
                </a:lnTo>
                <a:lnTo>
                  <a:pt x="4179052" y="6859884"/>
                </a:lnTo>
                <a:lnTo>
                  <a:pt x="5182221" y="6398063"/>
                </a:lnTo>
                <a:lnTo>
                  <a:pt x="0" y="4961982"/>
                </a:lnTo>
                <a:cubicBezTo>
                  <a:pt x="0" y="3242150"/>
                  <a:pt x="2024" y="1723638"/>
                  <a:pt x="2024" y="3806"/>
                </a:cubicBezTo>
                <a:close/>
              </a:path>
            </a:pathLst>
          </a:cu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square" tIns="540000" bIns="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pic>
        <p:nvPicPr>
          <p:cNvPr id="10" name="Bild 8" descr="BMWMINIRR_5fbg Kopie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870" y="6137292"/>
            <a:ext cx="1724211" cy="36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8" y="269622"/>
            <a:ext cx="11224685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sz="4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</a:t>
            </a:r>
            <a:br>
              <a:rPr lang="en-US" noProof="0" dirty="0"/>
            </a:br>
            <a:r>
              <a:rPr lang="en-US" noProof="0" dirty="0"/>
              <a:t>Double-Line Headline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8" y="1386804"/>
            <a:ext cx="11224685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None/>
              <a:defRPr sz="2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</a:t>
            </a:r>
            <a:r>
              <a:rPr lang="en-US" noProof="0" dirty="0" err="1"/>
              <a:t>Subheadline</a:t>
            </a:r>
            <a:r>
              <a:rPr lang="en-US" noProof="0" dirty="0"/>
              <a:t>.</a:t>
            </a:r>
          </a:p>
        </p:txBody>
      </p:sp>
      <p:sp>
        <p:nvSpPr>
          <p:cNvPr id="18" name="Textplatzhalt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92111" y="5431512"/>
            <a:ext cx="1620000" cy="3194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  <a:defRPr lang="de-DE" sz="1100" b="1" i="0" baseline="0" dirty="0" smtClean="0">
                <a:latin typeface="BMW Group Condensed Bold"/>
                <a:ea typeface="BMW Type Global Pro Regular" pitchFamily="2" charset="0"/>
                <a:cs typeface="BMW Group Condensed Bold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</a:pPr>
            <a:r>
              <a:rPr lang="de-DE" dirty="0"/>
              <a:t>Department | Date</a:t>
            </a:r>
          </a:p>
        </p:txBody>
      </p:sp>
      <p:pic>
        <p:nvPicPr>
          <p:cNvPr id="21" name="Bild 7" descr="WortmarkeBMWGROUP Kopie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410" y="5927742"/>
            <a:ext cx="757731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2252" y="5927742"/>
            <a:ext cx="1154481" cy="360000"/>
          </a:xfrm>
          <a:prstGeom prst="rect">
            <a:avLst/>
          </a:prstGeom>
        </p:spPr>
      </p:pic>
      <p:sp>
        <p:nvSpPr>
          <p:cNvPr id="11" name="Textfeld 10"/>
          <p:cNvSpPr txBox="1"/>
          <p:nvPr userDrawn="1"/>
        </p:nvSpPr>
        <p:spPr>
          <a:xfrm>
            <a:off x="391291" y="6282548"/>
            <a:ext cx="2230445" cy="29238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300" kern="1200" dirty="0">
                <a:solidFill>
                  <a:schemeClr val="tx1"/>
                </a:solidFill>
                <a:latin typeface="BMW Group Light" pitchFamily="2" charset="0"/>
                <a:ea typeface="+mn-ea"/>
                <a:cs typeface="BMW Group Light" pitchFamily="2" charset="0"/>
              </a:rPr>
              <a:t>Financial Servic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5" orient="horz" pos="3752" userDrawn="1">
          <p15:clr>
            <a:srgbClr val="FBAE40"/>
          </p15:clr>
        </p15:guide>
        <p15:guide id="6" orient="horz" pos="210" userDrawn="1">
          <p15:clr>
            <a:srgbClr val="FBAE40"/>
          </p15:clr>
        </p15:guide>
        <p15:guide id="7" orient="horz" pos="354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488948" y="1413936"/>
            <a:ext cx="5486400" cy="260616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34"/>
          </p:nvPr>
        </p:nvSpPr>
        <p:spPr>
          <a:xfrm>
            <a:off x="6193368" y="1413936"/>
            <a:ext cx="5520267" cy="260616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5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/>
              <a:t>Subject | Department | Date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37"/>
          </p:nvPr>
        </p:nvSpPr>
        <p:spPr>
          <a:xfrm>
            <a:off x="488948" y="4183352"/>
            <a:ext cx="5486400" cy="1938048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6193368" y="4191000"/>
            <a:ext cx="5520267" cy="1930400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896" userDrawn="1">
          <p15:clr>
            <a:srgbClr val="FBAE40"/>
          </p15:clr>
        </p15:guide>
        <p15:guide id="6" pos="301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orient="horz" pos="4042" userDrawn="1">
          <p15:clr>
            <a:srgbClr val="FBAE40"/>
          </p15:clr>
        </p15:guide>
        <p15:guide id="10" orient="horz" pos="4260" userDrawn="1">
          <p15:clr>
            <a:srgbClr val="FBAE40"/>
          </p15:clr>
        </p15:guide>
        <p15:guide id="11" orient="horz" pos="2636" userDrawn="1">
          <p15:clr>
            <a:srgbClr val="FBAE40"/>
          </p15:clr>
        </p15:guide>
        <p15:guide id="12" orient="horz" pos="253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488950" y="1413936"/>
            <a:ext cx="3578577" cy="1675641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34"/>
          </p:nvPr>
        </p:nvSpPr>
        <p:spPr>
          <a:xfrm>
            <a:off x="4295424" y="1413936"/>
            <a:ext cx="3584221" cy="1683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35"/>
          </p:nvPr>
        </p:nvSpPr>
        <p:spPr>
          <a:xfrm>
            <a:off x="8134521" y="1413936"/>
            <a:ext cx="3579112" cy="168329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488950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39"/>
          </p:nvPr>
        </p:nvSpPr>
        <p:spPr>
          <a:xfrm>
            <a:off x="4301070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40"/>
          </p:nvPr>
        </p:nvSpPr>
        <p:spPr>
          <a:xfrm>
            <a:off x="8135058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01" userDrawn="1">
          <p15:clr>
            <a:srgbClr val="FBAE40"/>
          </p15:clr>
        </p15:guide>
        <p15:guide id="9" pos="5120" userDrawn="1">
          <p15:clr>
            <a:srgbClr val="FBAE40"/>
          </p15:clr>
        </p15:guide>
        <p15:guide id="10" pos="4968" userDrawn="1">
          <p15:clr>
            <a:srgbClr val="FBAE40"/>
          </p15:clr>
        </p15:guide>
        <p15:guide id="11" pos="2704" userDrawn="1">
          <p15:clr>
            <a:srgbClr val="FBAE40"/>
          </p15:clr>
        </p15:guide>
        <p15:guide id="12" pos="256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88950" y="1413936"/>
            <a:ext cx="2619020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31"/>
          </p:nvPr>
        </p:nvSpPr>
        <p:spPr>
          <a:xfrm>
            <a:off x="3352802" y="1413936"/>
            <a:ext cx="2617423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32"/>
          </p:nvPr>
        </p:nvSpPr>
        <p:spPr>
          <a:xfrm>
            <a:off x="6220182" y="1413936"/>
            <a:ext cx="2619020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9096213" y="1413936"/>
            <a:ext cx="2617423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488948" y="2895604"/>
            <a:ext cx="2619021" cy="3225799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39"/>
          </p:nvPr>
        </p:nvSpPr>
        <p:spPr>
          <a:xfrm>
            <a:off x="3352803" y="2895604"/>
            <a:ext cx="2619021" cy="3225799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dirty="0" smtClean="0">
                <a:solidFill>
                  <a:srgbClr val="404040"/>
                </a:solidFill>
              </a:defRPr>
            </a:lvl1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40"/>
          </p:nvPr>
        </p:nvSpPr>
        <p:spPr>
          <a:xfrm>
            <a:off x="6220180" y="2887134"/>
            <a:ext cx="2619021" cy="3234266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41"/>
          </p:nvPr>
        </p:nvSpPr>
        <p:spPr>
          <a:xfrm>
            <a:off x="9094612" y="2887134"/>
            <a:ext cx="2619021" cy="3234266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1960" userDrawn="1">
          <p15:clr>
            <a:srgbClr val="FBAE40"/>
          </p15:clr>
        </p15:guide>
        <p15:guide id="10" pos="2112" userDrawn="1">
          <p15:clr>
            <a:srgbClr val="FBAE40"/>
          </p15:clr>
        </p15:guide>
        <p15:guide id="11" pos="3768" userDrawn="1">
          <p15:clr>
            <a:srgbClr val="FBAE40"/>
          </p15:clr>
        </p15:guide>
        <p15:guide id="12" pos="3912" userDrawn="1">
          <p15:clr>
            <a:srgbClr val="FBAE40"/>
          </p15:clr>
        </p15:guide>
        <p15:guide id="13" pos="5564" userDrawn="1">
          <p15:clr>
            <a:srgbClr val="FBAE40"/>
          </p15:clr>
        </p15:guide>
        <p15:guide id="14" pos="572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bin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6204657" y="1413933"/>
            <a:ext cx="5508976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6" y="1413933"/>
            <a:ext cx="5971817" cy="4715934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720000" rIns="0" bIns="0" rtlCol="0" anchor="ctr" anchorCtr="0">
            <a:noAutofit/>
          </a:bodyPr>
          <a:lstStyle>
            <a:lvl1pPr algn="ctr">
              <a:buFontTx/>
              <a:buNone/>
              <a:defRPr lang="en-US" sz="20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3768" userDrawn="1">
          <p15:clr>
            <a:srgbClr val="FBAE40"/>
          </p15:clr>
        </p15:guide>
        <p15:guide id="10" pos="390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cial Content without Dividing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 baseline="0"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500515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41345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88" userDrawn="1">
          <p15:clr>
            <a:srgbClr val="FBAE40"/>
          </p15:clr>
        </p15:guide>
        <p15:guide id="4" orient="horz" pos="3840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4322170"/>
            <a:ext cx="12191496" cy="253583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2800" y="5927742"/>
            <a:ext cx="1154478" cy="359999"/>
          </a:xfrm>
          <a:prstGeom prst="rect">
            <a:avLst/>
          </a:prstGeom>
        </p:spPr>
      </p:pic>
      <p:sp>
        <p:nvSpPr>
          <p:cNvPr id="1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8" y="1799485"/>
            <a:ext cx="11224685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buNone/>
              <a:defRPr sz="39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Headline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8" y="2916667"/>
            <a:ext cx="11224685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buNone/>
              <a:defRPr sz="2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</a:t>
            </a:r>
            <a:r>
              <a:rPr lang="en-US" noProof="0" dirty="0" err="1"/>
              <a:t>Subheadline</a:t>
            </a:r>
            <a:r>
              <a:rPr lang="en-US" noProof="0" dirty="0"/>
              <a:t>.</a:t>
            </a:r>
          </a:p>
        </p:txBody>
      </p:sp>
      <p:pic>
        <p:nvPicPr>
          <p:cNvPr id="14" name="Bild 8" descr="BMWMINIRR_5fbg Kopie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870" y="6137292"/>
            <a:ext cx="1724211" cy="36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platzhalt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92111" y="5431512"/>
            <a:ext cx="1620000" cy="3194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  <a:defRPr lang="de-DE" sz="1100" b="1" i="0" baseline="0" dirty="0" smtClean="0">
                <a:latin typeface="BMW Group Condensed Bold"/>
                <a:ea typeface="BMW Type Global Pro Regular" pitchFamily="2" charset="0"/>
                <a:cs typeface="BMW Group Condensed Bold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</a:pPr>
            <a:r>
              <a:rPr lang="de-DE" dirty="0"/>
              <a:t>Department | Date</a:t>
            </a:r>
          </a:p>
        </p:txBody>
      </p:sp>
      <p:pic>
        <p:nvPicPr>
          <p:cNvPr id="13" name="Bild 7" descr="WortmarkeBMWGROUP Kopie.jp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410" y="5927742"/>
            <a:ext cx="757731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feld 14"/>
          <p:cNvSpPr txBox="1"/>
          <p:nvPr userDrawn="1"/>
        </p:nvSpPr>
        <p:spPr>
          <a:xfrm>
            <a:off x="391291" y="6282548"/>
            <a:ext cx="2230445" cy="29238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300" kern="1200" dirty="0">
                <a:solidFill>
                  <a:schemeClr val="tx1"/>
                </a:solidFill>
                <a:latin typeface="BMW Group Light" pitchFamily="2" charset="0"/>
                <a:ea typeface="+mn-ea"/>
                <a:cs typeface="BMW Group Light" pitchFamily="2" charset="0"/>
              </a:rPr>
              <a:t>Financial Servic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79" userDrawn="1">
          <p15:clr>
            <a:srgbClr val="FBAE40"/>
          </p15:clr>
        </p15:guide>
        <p15:guide id="2" orient="horz" pos="1128" userDrawn="1">
          <p15:clr>
            <a:srgbClr val="FBAE40"/>
          </p15:clr>
        </p15:guide>
        <p15:guide id="3" orient="horz" pos="3544" userDrawn="1">
          <p15:clr>
            <a:srgbClr val="FBAE40"/>
          </p15:clr>
        </p15:guide>
        <p15:guide id="4" orient="horz" pos="1832" userDrawn="1">
          <p15:clr>
            <a:srgbClr val="FBAE40"/>
          </p15:clr>
        </p15:guide>
        <p15:guide id="5" pos="301" userDrawn="1">
          <p15:clr>
            <a:srgbClr val="FBAE40"/>
          </p15:clr>
        </p15:guide>
        <p15:guide id="6" pos="7384" userDrawn="1">
          <p15:clr>
            <a:srgbClr val="FBAE40"/>
          </p15:clr>
        </p15:guide>
        <p15:guide id="7" orient="horz" pos="375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8"/>
          <p:cNvSpPr/>
          <p:nvPr userDrawn="1"/>
        </p:nvSpPr>
        <p:spPr>
          <a:xfrm>
            <a:off x="0" y="0"/>
            <a:ext cx="12192000" cy="6294964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6" name="Bild 10" descr="Next_100_Years_Signet.png"/>
          <p:cNvPicPr>
            <a:picLocks noChangeAspect="1"/>
          </p:cNvPicPr>
          <p:nvPr userDrawn="1"/>
        </p:nvPicPr>
        <p:blipFill rotWithShape="1"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90" t="31947" r="48537" b="3"/>
          <a:stretch/>
        </p:blipFill>
        <p:spPr>
          <a:xfrm>
            <a:off x="4664261" y="1"/>
            <a:ext cx="7527739" cy="6330218"/>
          </a:xfrm>
          <a:prstGeom prst="rect">
            <a:avLst/>
          </a:prstGeom>
        </p:spPr>
      </p:pic>
      <p:sp>
        <p:nvSpPr>
          <p:cNvPr id="8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9" y="1412875"/>
            <a:ext cx="2989019" cy="9246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ts val="7200"/>
              </a:lnSpc>
              <a:spcBef>
                <a:spcPts val="0"/>
              </a:spcBef>
              <a:buNone/>
              <a:defRPr sz="72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01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88948" y="2362896"/>
            <a:ext cx="11224685" cy="54886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ts val="4200"/>
              </a:lnSpc>
              <a:spcBef>
                <a:spcPts val="0"/>
              </a:spcBef>
              <a:buNone/>
              <a:defRPr sz="4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hapter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36" userDrawn="1">
          <p15:clr>
            <a:srgbClr val="FBAE40"/>
          </p15:clr>
        </p15:guide>
        <p15:guide id="2" orient="horz" pos="887" userDrawn="1">
          <p15:clr>
            <a:srgbClr val="FBAE40"/>
          </p15:clr>
        </p15:guide>
        <p15:guide id="3" pos="7384" userDrawn="1">
          <p15:clr>
            <a:srgbClr val="FBAE40"/>
          </p15:clr>
        </p15:guide>
        <p15:guide id="4" pos="301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 baseline="0"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11"/>
          <p:cNvPicPr>
            <a:picLocks noChangeAspect="1"/>
          </p:cNvPicPr>
          <p:nvPr userDrawn="1"/>
        </p:nvPicPr>
        <p:blipFill rotWithShape="1">
          <a:blip r:embed="rId2" cstate="print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656" t="46096" r="-1521" b="2091"/>
          <a:stretch/>
        </p:blipFill>
        <p:spPr>
          <a:xfrm>
            <a:off x="-9832" y="0"/>
            <a:ext cx="6028267" cy="629390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488948" y="1413933"/>
            <a:ext cx="5486400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9"/>
          </p:nvPr>
        </p:nvSpPr>
        <p:spPr>
          <a:xfrm>
            <a:off x="6193368" y="1413933"/>
            <a:ext cx="5520267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6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pos="301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ith Sub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22"/>
          </p:nvPr>
        </p:nvSpPr>
        <p:spPr>
          <a:xfrm>
            <a:off x="6193368" y="1795463"/>
            <a:ext cx="5520267" cy="43259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3"/>
          </p:nvPr>
        </p:nvSpPr>
        <p:spPr>
          <a:xfrm>
            <a:off x="488948" y="1795463"/>
            <a:ext cx="5486400" cy="43259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488950" y="1412875"/>
            <a:ext cx="5486400" cy="32385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93368" y="1412875"/>
            <a:ext cx="5486400" cy="32385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7" userDrawn="1">
          <p15:clr>
            <a:srgbClr val="FBAE40"/>
          </p15:clr>
        </p15:guide>
        <p15:guide id="8" pos="3769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orient="horz" pos="1131" userDrawn="1">
          <p15:clr>
            <a:srgbClr val="FBAE40"/>
          </p15:clr>
        </p15:guide>
        <p15:guide id="11" orient="horz" pos="1094" userDrawn="1">
          <p15:clr>
            <a:srgbClr val="FBAE40"/>
          </p15:clr>
        </p15:guide>
        <p15:guide id="12" pos="301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4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/>
              <a:t>Subject | Department | Date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36"/>
          </p:nvPr>
        </p:nvSpPr>
        <p:spPr>
          <a:xfrm>
            <a:off x="488948" y="1413933"/>
            <a:ext cx="11224685" cy="4707467"/>
          </a:xfrm>
          <a:pattFill prst="wdUpDiag">
            <a:fgClr>
              <a:srgbClr val="BFBFBF"/>
            </a:fgClr>
            <a:bgClr>
              <a:schemeClr val="bg1"/>
            </a:bgClr>
          </a:pattFill>
        </p:spPr>
        <p:txBody>
          <a:bodyPr tIns="540000" anchor="ctr"/>
          <a:lstStyle>
            <a:lvl1pPr marL="0" indent="0" algn="ctr">
              <a:buNone/>
              <a:defRPr sz="2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01" userDrawn="1">
          <p15:clr>
            <a:srgbClr val="FBAE40"/>
          </p15:clr>
        </p15:guide>
        <p15:guide id="6" pos="7384" userDrawn="1">
          <p15:clr>
            <a:srgbClr val="FBAE40"/>
          </p15:clr>
        </p15:guide>
        <p15:guide id="7" orient="horz" pos="4042" userDrawn="1">
          <p15:clr>
            <a:srgbClr val="FBAE40"/>
          </p15:clr>
        </p15:guide>
        <p15:guide id="8" orient="horz" pos="42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5" y="1413933"/>
            <a:ext cx="12192003" cy="5444068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20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pos="301" userDrawn="1">
          <p15:clr>
            <a:srgbClr val="FBAE40"/>
          </p15:clr>
        </p15:guide>
        <p15:guide id="4" pos="73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rgbClr val="404040"/>
                </a:solidFill>
              </a:defRPr>
            </a:lvl1pPr>
          </a:lstStyle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10586156" y="6425347"/>
            <a:ext cx="1127477" cy="3317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404040"/>
                </a:solidFill>
              </a:defRPr>
            </a:lvl1pPr>
          </a:lstStyle>
          <a:p>
            <a:r>
              <a:rPr lang="en-US" noProof="0" dirty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sp>
        <p:nvSpPr>
          <p:cNvPr id="8" name="empower - DO NOT DELETE!!!" hidden="1"/>
          <p:cNvSpPr/>
          <p:nvPr userDrawn="1">
            <p:custDataLst>
              <p:tags r:id="rId18"/>
            </p:custDataLst>
          </p:nvPr>
        </p:nvSpPr>
        <p:spPr>
          <a:xfrm>
            <a:off x="-1693333" y="-127000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ts val="2700"/>
              </a:lnSpc>
            </a:pPr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8948" y="1413933"/>
            <a:ext cx="11224685" cy="47074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/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6" r:id="rId2"/>
    <p:sldLayoutId id="2147483748" r:id="rId3"/>
    <p:sldLayoutId id="2147483749" r:id="rId4"/>
    <p:sldLayoutId id="2147483752" r:id="rId5"/>
    <p:sldLayoutId id="2147483750" r:id="rId6"/>
    <p:sldLayoutId id="2147483751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65" r:id="rId14"/>
    <p:sldLayoutId id="2147483762" r:id="rId15"/>
    <p:sldLayoutId id="2147483764" r:id="rId16"/>
  </p:sldLayoutIdLst>
  <p:hf hdr="0" dt="0"/>
  <p:txStyles>
    <p:titleStyle>
      <a:lvl1pPr algn="l" defTabSz="914400" rtl="0" eaLnBrk="1" latinLnBrk="0" hangingPunct="1">
        <a:lnSpc>
          <a:spcPts val="3400"/>
        </a:lnSpc>
        <a:spcBef>
          <a:spcPct val="0"/>
        </a:spcBef>
        <a:buNone/>
        <a:defRPr lang="de-DE" sz="2600" b="1" kern="1200" cap="all" baseline="0" smtClean="0">
          <a:solidFill>
            <a:srgbClr val="92A2BD"/>
          </a:solidFill>
          <a:latin typeface="+mj-lt"/>
          <a:ea typeface="+mn-ea"/>
          <a:cs typeface="+mn-cs"/>
        </a:defRPr>
      </a:lvl1pPr>
    </p:titleStyle>
    <p:bodyStyle>
      <a:lvl1pPr marL="176213" indent="-176213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4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488948" y="1412875"/>
            <a:ext cx="6910141" cy="924620"/>
          </a:xfrm>
        </p:spPr>
        <p:txBody>
          <a:bodyPr/>
          <a:lstStyle/>
          <a:p>
            <a:r>
              <a:rPr lang="en-US" b="0" dirty="0" smtClean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MCB</a:t>
            </a:r>
            <a:endParaRPr lang="en-US" b="0" dirty="0">
              <a:solidFill>
                <a:srgbClr val="404040"/>
              </a:solidFill>
              <a:latin typeface="BMW Group Condensed" panose="020B0606020202020204" pitchFamily="34" charset="0"/>
            </a:endParaRPr>
          </a:p>
          <a:p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88949" y="2337495"/>
            <a:ext cx="11224685" cy="1154162"/>
          </a:xfrm>
        </p:spPr>
        <p:txBody>
          <a:bodyPr/>
          <a:lstStyle/>
          <a:p>
            <a:r>
              <a:rPr lang="en-US" altLang="zh-CN" dirty="0">
                <a:solidFill>
                  <a:srgbClr val="666666"/>
                </a:solidFill>
                <a:latin typeface="BMW Group Condensed" panose="020B0606020202020204" pitchFamily="34" charset="0"/>
              </a:rPr>
              <a:t>EPIC: </a:t>
            </a:r>
          </a:p>
          <a:p>
            <a:r>
              <a:rPr lang="en-US" dirty="0">
                <a:solidFill>
                  <a:schemeClr val="tx1"/>
                </a:solidFill>
                <a:latin typeface="BMW Group Condensed" panose="020B0606020202020204" pitchFamily="34" charset="0"/>
              </a:rPr>
              <a:t>Products Selection (Dealer &amp; Vehicle)</a:t>
            </a:r>
            <a:endParaRPr lang="en-US" altLang="zh-CN" dirty="0" smtClean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0" y="6424613"/>
            <a:ext cx="9852025" cy="331787"/>
          </a:xfrm>
        </p:spPr>
        <p:txBody>
          <a:bodyPr/>
          <a:lstStyle/>
          <a:p>
            <a:pPr algn="l"/>
            <a:r>
              <a:rPr lang="en-GB" noProof="0" smtClean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11063288" y="6424613"/>
            <a:ext cx="1128712" cy="331787"/>
          </a:xfrm>
        </p:spPr>
        <p:txBody>
          <a:bodyPr/>
          <a:lstStyle/>
          <a:p>
            <a:r>
              <a:rPr lang="en-US" noProof="0" smtClean="0"/>
              <a:t>Page </a:t>
            </a:r>
            <a:fld id="{AA807A42-CF27-4B84-8583-18EBE418342E}" type="slidenum">
              <a:rPr lang="en-US" noProof="0" smtClean="0"/>
              <a:pPr/>
              <a:t>1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03473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4813" y="1480628"/>
            <a:ext cx="10026869" cy="448879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 smtClean="0"/>
              <a:t>ES-S </a:t>
            </a:r>
            <a:r>
              <a:rPr lang="en-US" dirty="0"/>
              <a:t>002</a:t>
            </a:r>
            <a:br>
              <a:rPr lang="en-US" dirty="0"/>
            </a:br>
            <a:r>
              <a:rPr lang="en-US" dirty="0"/>
              <a:t>Vehicle Information and Pi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Wireframes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151820" y="5969426"/>
            <a:ext cx="4456386" cy="709170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44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ample</a:t>
            </a:r>
          </a:p>
        </p:txBody>
      </p:sp>
    </p:spTree>
    <p:extLst>
      <p:ext uri="{BB962C8B-B14F-4D97-AF65-F5344CB8AC3E}">
        <p14:creationId xmlns:p14="http://schemas.microsoft.com/office/powerpoint/2010/main" val="821836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ory </a:t>
            </a:r>
            <a:r>
              <a:rPr lang="en-US" dirty="0"/>
              <a:t>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/>
              <a:t>ES-S 002</a:t>
            </a:r>
            <a:br>
              <a:rPr lang="en-US" dirty="0"/>
            </a:br>
            <a:r>
              <a:rPr lang="en-US" dirty="0"/>
              <a:t>Vehicle Information and Pi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Process Flow: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1304155" y="2172128"/>
            <a:ext cx="1114097" cy="3756484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Easy Finance AP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Registration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Process</a:t>
            </a:r>
            <a:endParaRPr lang="en-US" sz="14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2441112" y="306386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2418252" y="517827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1378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/>
              <a:t>ES-S 002</a:t>
            </a:r>
            <a:br>
              <a:rPr lang="en-US" dirty="0"/>
            </a:br>
            <a:r>
              <a:rPr lang="en-US" dirty="0"/>
              <a:t>Vehicle Information and Picture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  <a:ln w="3175">
            <a:solidFill>
              <a:schemeClr val="tx1"/>
            </a:solidFill>
          </a:ln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Sequence Flow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786630" y="1619829"/>
            <a:ext cx="1397876" cy="420414"/>
          </a:xfrm>
          <a:prstGeom prst="rect">
            <a:avLst/>
          </a:prstGeom>
          <a:solidFill>
            <a:srgbClr val="B1C3B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140730" y="1619829"/>
            <a:ext cx="1397876" cy="420414"/>
          </a:xfrm>
          <a:prstGeom prst="rect">
            <a:avLst/>
          </a:prstGeom>
          <a:solidFill>
            <a:srgbClr val="B2CA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494830" y="1619829"/>
            <a:ext cx="1397876" cy="420414"/>
          </a:xfrm>
          <a:prstGeom prst="rect">
            <a:avLst/>
          </a:prstGeom>
          <a:solidFill>
            <a:srgbClr val="DF9A9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848930" y="1619829"/>
            <a:ext cx="1397876" cy="420414"/>
          </a:xfrm>
          <a:prstGeom prst="rect">
            <a:avLst/>
          </a:prstGeom>
          <a:solidFill>
            <a:srgbClr val="FFC299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045880" y="1619829"/>
            <a:ext cx="1397876" cy="420414"/>
          </a:xfrm>
          <a:prstGeom prst="rect">
            <a:avLst/>
          </a:prstGeom>
          <a:solidFill>
            <a:srgbClr val="FEE372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>
            <a:stCxn id="6" idx="2"/>
          </p:cNvCxnSpPr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4181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 smtClean="0"/>
              <a:t>ES-S 004:</a:t>
            </a: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Select Dealership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user I want to chose the dealership of the car I would like to purchase / finance </a:t>
            </a: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so </a:t>
            </a:r>
            <a:r>
              <a:rPr lang="en-US" dirty="0"/>
              <a:t>that I can continue the process later on in my next visit and so that I can get the dealer specific vehicle / finance product.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</a:rPr>
              <a:t>Assumptions</a:t>
            </a:r>
            <a:r>
              <a:rPr lang="en-US" sz="1600" u="sng" dirty="0">
                <a:solidFill>
                  <a:srgbClr val="00B0F0"/>
                </a:solidFill>
              </a:rPr>
              <a:t>:</a:t>
            </a:r>
          </a:p>
          <a:p>
            <a:r>
              <a:rPr lang="en-US" sz="1600" dirty="0">
                <a:solidFill>
                  <a:srgbClr val="172B4D"/>
                </a:solidFill>
              </a:rPr>
              <a:t>The vehicle is already chosen and no pipeline check necessary</a:t>
            </a:r>
          </a:p>
          <a:p>
            <a:r>
              <a:rPr lang="en-US" sz="1600" dirty="0" smtClean="0">
                <a:solidFill>
                  <a:srgbClr val="172B4D"/>
                </a:solidFill>
              </a:rPr>
              <a:t>Customer </a:t>
            </a:r>
            <a:r>
              <a:rPr lang="en-US" sz="1600" dirty="0">
                <a:solidFill>
                  <a:srgbClr val="172B4D"/>
                </a:solidFill>
              </a:rPr>
              <a:t>Successfully registered or used existing GCDM/BMW Account to login to BMW Easy Finance APP.</a:t>
            </a:r>
          </a:p>
          <a:p>
            <a:r>
              <a:rPr lang="en-US" sz="1600" dirty="0">
                <a:solidFill>
                  <a:srgbClr val="172B4D"/>
                </a:solidFill>
              </a:rPr>
              <a:t>Customer Successfully Redirected himself to Product Selection page upon using User friendly App’s Navigation </a:t>
            </a:r>
            <a:endParaRPr lang="en-US" sz="1600" dirty="0" smtClean="0">
              <a:solidFill>
                <a:srgbClr val="172B4D"/>
              </a:solidFill>
            </a:endParaRPr>
          </a:p>
          <a:p>
            <a:r>
              <a:rPr lang="en-US" sz="1600" dirty="0">
                <a:solidFill>
                  <a:srgbClr val="172B4D"/>
                </a:solidFill>
              </a:rPr>
              <a:t>Customer is physically at the dealership in the reach of F&amp;I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</a:rPr>
              <a:t>Pre-Conditions</a:t>
            </a:r>
            <a:r>
              <a:rPr lang="en-US" sz="1600" u="sng" dirty="0">
                <a:solidFill>
                  <a:srgbClr val="00B0F0"/>
                </a:solidFill>
              </a:rPr>
              <a:t>: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600" dirty="0">
                <a:solidFill>
                  <a:srgbClr val="172B4D"/>
                </a:solidFill>
              </a:rPr>
              <a:t> Customer should be allowed to filter BMW </a:t>
            </a:r>
            <a:r>
              <a:rPr lang="en-US" sz="1600" dirty="0" smtClean="0">
                <a:solidFill>
                  <a:srgbClr val="172B4D"/>
                </a:solidFill>
              </a:rPr>
              <a:t>Dealership </a:t>
            </a:r>
            <a:r>
              <a:rPr lang="en-US" sz="1600" dirty="0">
                <a:solidFill>
                  <a:srgbClr val="172B4D"/>
                </a:solidFill>
              </a:rPr>
              <a:t>from various filter parameters.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600" dirty="0">
                <a:solidFill>
                  <a:srgbClr val="172B4D"/>
                </a:solidFill>
              </a:rPr>
              <a:t> Most up to date </a:t>
            </a:r>
            <a:r>
              <a:rPr lang="en-US" sz="1600" dirty="0" smtClean="0">
                <a:solidFill>
                  <a:srgbClr val="172B4D"/>
                </a:solidFill>
              </a:rPr>
              <a:t>dealership information </a:t>
            </a:r>
            <a:r>
              <a:rPr lang="en-US" sz="1600" dirty="0">
                <a:solidFill>
                  <a:srgbClr val="172B4D"/>
                </a:solidFill>
              </a:rPr>
              <a:t>is available for customer to choose. </a:t>
            </a:r>
          </a:p>
          <a:p>
            <a:pPr marL="0" lv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User selected Province / City (drop down)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600" dirty="0" smtClean="0">
                <a:solidFill>
                  <a:srgbClr val="172B4D"/>
                </a:solidFill>
              </a:rPr>
              <a:t>User selected dealer from dropdown list predefined and filtered by city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600" dirty="0">
                <a:solidFill>
                  <a:srgbClr val="172B4D"/>
                </a:solidFill>
              </a:rPr>
              <a:t>Once the </a:t>
            </a:r>
            <a:r>
              <a:rPr lang="en-US" sz="1600" dirty="0" smtClean="0">
                <a:solidFill>
                  <a:srgbClr val="172B4D"/>
                </a:solidFill>
              </a:rPr>
              <a:t>dealership the user can continue to select the vehicle</a:t>
            </a:r>
            <a:endParaRPr lang="en-US" sz="1600" dirty="0">
              <a:solidFill>
                <a:srgbClr val="172B4D"/>
              </a:solidFill>
            </a:endParaRP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600" dirty="0">
                <a:solidFill>
                  <a:srgbClr val="172B4D"/>
                </a:solidFill>
              </a:rPr>
              <a:t>The user can click back button and enters landing page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endParaRPr lang="en-US" sz="1600" dirty="0" smtClean="0">
              <a:solidFill>
                <a:srgbClr val="172B4D"/>
              </a:solidFill>
            </a:endParaRPr>
          </a:p>
          <a:p>
            <a:pPr marL="342900" indent="-342900">
              <a:buFont typeface="Symbol" panose="05050102010706020507" pitchFamily="18" charset="2"/>
              <a:buAutoNum type="arabicPeriod"/>
            </a:pPr>
            <a:endParaRPr lang="en-US" sz="1600" dirty="0">
              <a:solidFill>
                <a:srgbClr val="172B4D"/>
              </a:solidFill>
            </a:endParaRPr>
          </a:p>
          <a:p>
            <a:pPr marL="342900" lvl="0" indent="-342900">
              <a:buAutoNum type="arabicPeriod"/>
            </a:pP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0794127" y="1048658"/>
            <a:ext cx="1229710" cy="38888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Legal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0794127" y="152975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</a:p>
        </p:txBody>
      </p:sp>
      <p:sp>
        <p:nvSpPr>
          <p:cNvPr id="16" name="Oval 15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10268610" y="1048658"/>
            <a:ext cx="399393" cy="388881"/>
          </a:xfrm>
          <a:prstGeom prst="ellipse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10268610" y="152975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0794127" y="201085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mpliance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10268610" y="201085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0238949" y="86098"/>
            <a:ext cx="1784888" cy="371274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OWNER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:  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PO (BA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)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0794127" y="2491952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ecurity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10268610" y="2491953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1510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7272" y="1592428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7415" y="342900"/>
            <a:ext cx="11224685" cy="701474"/>
          </a:xfrm>
        </p:spPr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 smtClean="0"/>
              <a:t>ES-S 004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Select Dealership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sp>
        <p:nvSpPr>
          <p:cNvPr id="8" name="Freeform 7"/>
          <p:cNvSpPr/>
          <p:nvPr/>
        </p:nvSpPr>
        <p:spPr>
          <a:xfrm>
            <a:off x="7541309" y="3293385"/>
            <a:ext cx="1272245" cy="1101904"/>
          </a:xfrm>
          <a:custGeom>
            <a:avLst/>
            <a:gdLst>
              <a:gd name="connsiteX0" fmla="*/ 0 w 1272245"/>
              <a:gd name="connsiteY0" fmla="*/ 0 h 1101904"/>
              <a:gd name="connsiteX1" fmla="*/ 1272245 w 1272245"/>
              <a:gd name="connsiteY1" fmla="*/ 0 h 1101904"/>
              <a:gd name="connsiteX2" fmla="*/ 1272245 w 1272245"/>
              <a:gd name="connsiteY2" fmla="*/ 1101904 h 1101904"/>
              <a:gd name="connsiteX3" fmla="*/ 0 w 1272245"/>
              <a:gd name="connsiteY3" fmla="*/ 1101904 h 1101904"/>
              <a:gd name="connsiteX4" fmla="*/ 0 w 1272245"/>
              <a:gd name="connsiteY4" fmla="*/ 0 h 1101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2245" h="1101904">
                <a:moveTo>
                  <a:pt x="0" y="0"/>
                </a:moveTo>
                <a:lnTo>
                  <a:pt x="1272245" y="0"/>
                </a:lnTo>
                <a:lnTo>
                  <a:pt x="1272245" y="1101904"/>
                </a:lnTo>
                <a:lnTo>
                  <a:pt x="0" y="110190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0480" tIns="30480" rIns="30480" bIns="30480" numCol="1" spcCol="1270" anchor="t" anchorCtr="0">
            <a:noAutofit/>
          </a:bodyPr>
          <a:lstStyle/>
          <a:p>
            <a:pPr lvl="0" algn="l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200" kern="1200" dirty="0" smtClean="0"/>
              <a:t>- Province</a:t>
            </a:r>
            <a:r>
              <a:rPr lang="en-US" sz="1200" dirty="0"/>
              <a:t> </a:t>
            </a:r>
            <a:r>
              <a:rPr lang="en-US" sz="1200" dirty="0" smtClean="0"/>
              <a:t>/ </a:t>
            </a:r>
            <a:r>
              <a:rPr lang="en-US" sz="1200" kern="1200" dirty="0" smtClean="0"/>
              <a:t>City</a:t>
            </a:r>
          </a:p>
          <a:p>
            <a:pPr lvl="0" algn="l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altLang="zh-CN" sz="1200" kern="1200" dirty="0" smtClean="0"/>
              <a:t>- Dealer</a:t>
            </a:r>
            <a:endParaRPr lang="en-US" sz="1200" kern="1200" dirty="0"/>
          </a:p>
        </p:txBody>
      </p:sp>
      <p:sp>
        <p:nvSpPr>
          <p:cNvPr id="11" name="Freeform 10"/>
          <p:cNvSpPr/>
          <p:nvPr/>
        </p:nvSpPr>
        <p:spPr>
          <a:xfrm>
            <a:off x="7532842" y="2863331"/>
            <a:ext cx="1272245" cy="430054"/>
          </a:xfrm>
          <a:custGeom>
            <a:avLst/>
            <a:gdLst>
              <a:gd name="connsiteX0" fmla="*/ 0 w 1272245"/>
              <a:gd name="connsiteY0" fmla="*/ 0 h 430054"/>
              <a:gd name="connsiteX1" fmla="*/ 1272245 w 1272245"/>
              <a:gd name="connsiteY1" fmla="*/ 0 h 430054"/>
              <a:gd name="connsiteX2" fmla="*/ 1272245 w 1272245"/>
              <a:gd name="connsiteY2" fmla="*/ 430054 h 430054"/>
              <a:gd name="connsiteX3" fmla="*/ 0 w 1272245"/>
              <a:gd name="connsiteY3" fmla="*/ 430054 h 430054"/>
              <a:gd name="connsiteX4" fmla="*/ 0 w 1272245"/>
              <a:gd name="connsiteY4" fmla="*/ 0 h 430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2245" h="430054">
                <a:moveTo>
                  <a:pt x="0" y="0"/>
                </a:moveTo>
                <a:lnTo>
                  <a:pt x="1272245" y="0"/>
                </a:lnTo>
                <a:lnTo>
                  <a:pt x="1272245" y="430054"/>
                </a:lnTo>
                <a:lnTo>
                  <a:pt x="0" y="43005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0640" tIns="40640" rIns="40640" bIns="40640" numCol="1" spcCol="1270" anchor="b" anchorCtr="0">
            <a:noAutofit/>
          </a:bodyPr>
          <a:lstStyle/>
          <a:p>
            <a:pPr lvl="0" algn="l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kern="1200" dirty="0" smtClean="0"/>
              <a:t>Select Dealer</a:t>
            </a:r>
            <a:endParaRPr lang="en-US" sz="1600" kern="1200" dirty="0"/>
          </a:p>
        </p:txBody>
      </p:sp>
      <p:sp>
        <p:nvSpPr>
          <p:cNvPr id="20" name="Rectangle 19"/>
          <p:cNvSpPr/>
          <p:nvPr/>
        </p:nvSpPr>
        <p:spPr>
          <a:xfrm>
            <a:off x="4757272" y="2430917"/>
            <a:ext cx="2579898" cy="998083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97426" y="1526796"/>
            <a:ext cx="2603081" cy="4594605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9119019" y="1526795"/>
            <a:ext cx="2603081" cy="4594605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823649" y="2488973"/>
            <a:ext cx="914400" cy="29776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0023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</a:t>
            </a:r>
            <a:r>
              <a:rPr lang="en-US" dirty="0" smtClean="0"/>
              <a:t>ID</a:t>
            </a:r>
            <a:r>
              <a:rPr lang="en-US" dirty="0"/>
              <a:t>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/>
              <a:t>ES-S 004</a:t>
            </a:r>
            <a:br>
              <a:rPr lang="en-US" dirty="0"/>
            </a:br>
            <a:r>
              <a:rPr lang="en-US" dirty="0"/>
              <a:t>Select Dealership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Wireframes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5998978" y="1412874"/>
            <a:ext cx="5714656" cy="5158123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24220" y="1412875"/>
            <a:ext cx="2819930" cy="5158123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6831" y="1532623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948" y="1532623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0350" y="1535797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4" name="Oval 13"/>
          <p:cNvSpPr/>
          <p:nvPr/>
        </p:nvSpPr>
        <p:spPr>
          <a:xfrm>
            <a:off x="1552575" y="5400675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1628774" y="5476874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5266890" y="2344738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5343089" y="2420937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4181040" y="2930525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Oval 18"/>
          <p:cNvSpPr/>
          <p:nvPr/>
        </p:nvSpPr>
        <p:spPr>
          <a:xfrm>
            <a:off x="4257239" y="3006724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4357251" y="5430839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Oval 20"/>
          <p:cNvSpPr/>
          <p:nvPr/>
        </p:nvSpPr>
        <p:spPr>
          <a:xfrm>
            <a:off x="4433450" y="5507038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8083886" y="3916364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8160085" y="3992563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4" name="Oval 23"/>
          <p:cNvSpPr/>
          <p:nvPr/>
        </p:nvSpPr>
        <p:spPr>
          <a:xfrm>
            <a:off x="6998417" y="4602164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5" name="Oval 24"/>
          <p:cNvSpPr/>
          <p:nvPr/>
        </p:nvSpPr>
        <p:spPr>
          <a:xfrm>
            <a:off x="7074616" y="4678363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6" name="Oval 25"/>
          <p:cNvSpPr/>
          <p:nvPr/>
        </p:nvSpPr>
        <p:spPr>
          <a:xfrm>
            <a:off x="8180004" y="4602164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7" name="Oval 26"/>
          <p:cNvSpPr/>
          <p:nvPr/>
        </p:nvSpPr>
        <p:spPr>
          <a:xfrm>
            <a:off x="8256203" y="4678363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8" name="Oval 27"/>
          <p:cNvSpPr/>
          <p:nvPr/>
        </p:nvSpPr>
        <p:spPr>
          <a:xfrm>
            <a:off x="7174628" y="5415982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9" name="Oval 28"/>
          <p:cNvSpPr/>
          <p:nvPr/>
        </p:nvSpPr>
        <p:spPr>
          <a:xfrm>
            <a:off x="7250827" y="5492181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0" name="Oval 29"/>
          <p:cNvSpPr/>
          <p:nvPr/>
        </p:nvSpPr>
        <p:spPr>
          <a:xfrm>
            <a:off x="6066831" y="3840163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1" name="Oval 30"/>
          <p:cNvSpPr/>
          <p:nvPr/>
        </p:nvSpPr>
        <p:spPr>
          <a:xfrm>
            <a:off x="6143030" y="3916362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1697" y="1532623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33" name="Picture 3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440" b="16655"/>
          <a:stretch/>
        </p:blipFill>
        <p:spPr>
          <a:xfrm>
            <a:off x="8829745" y="2258560"/>
            <a:ext cx="2554696" cy="1785257"/>
          </a:xfrm>
          <a:prstGeom prst="rect">
            <a:avLst/>
          </a:prstGeom>
          <a:ln>
            <a:noFill/>
          </a:ln>
        </p:spPr>
      </p:pic>
      <p:sp>
        <p:nvSpPr>
          <p:cNvPr id="4" name="Rectangle 3"/>
          <p:cNvSpPr/>
          <p:nvPr/>
        </p:nvSpPr>
        <p:spPr>
          <a:xfrm>
            <a:off x="10907618" y="2544762"/>
            <a:ext cx="493977" cy="49530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8845974" y="2544762"/>
            <a:ext cx="493977" cy="4191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8839152" y="4043817"/>
            <a:ext cx="2545289" cy="135685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8897380" y="3340099"/>
            <a:ext cx="2444627" cy="37964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8856306" y="4128403"/>
            <a:ext cx="2444627" cy="37964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Negotiated </a:t>
            </a: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Transaction Price</a:t>
            </a:r>
          </a:p>
        </p:txBody>
      </p:sp>
      <p:sp>
        <p:nvSpPr>
          <p:cNvPr id="37" name="Rectangle 36"/>
          <p:cNvSpPr/>
          <p:nvPr/>
        </p:nvSpPr>
        <p:spPr>
          <a:xfrm>
            <a:off x="9092962" y="4420054"/>
            <a:ext cx="1924226" cy="329065"/>
          </a:xfrm>
          <a:prstGeom prst="rect">
            <a:avLst/>
          </a:prstGeom>
          <a:solidFill>
            <a:schemeClr val="bg1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$ 250,  000</a:t>
            </a:r>
          </a:p>
        </p:txBody>
      </p:sp>
      <p:sp>
        <p:nvSpPr>
          <p:cNvPr id="38" name="Oval 37"/>
          <p:cNvSpPr/>
          <p:nvPr/>
        </p:nvSpPr>
        <p:spPr>
          <a:xfrm>
            <a:off x="10358070" y="4313924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9" name="Oval 38"/>
          <p:cNvSpPr/>
          <p:nvPr/>
        </p:nvSpPr>
        <p:spPr>
          <a:xfrm>
            <a:off x="10434269" y="4390123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0" name="Oval 39"/>
          <p:cNvSpPr/>
          <p:nvPr/>
        </p:nvSpPr>
        <p:spPr>
          <a:xfrm>
            <a:off x="9791080" y="5400675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1" name="Oval 40"/>
          <p:cNvSpPr/>
          <p:nvPr/>
        </p:nvSpPr>
        <p:spPr>
          <a:xfrm>
            <a:off x="9867279" y="5476874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3308878" y="2389187"/>
            <a:ext cx="914400" cy="29776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6143030" y="2376486"/>
            <a:ext cx="914400" cy="29776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8917916" y="4866102"/>
            <a:ext cx="2403553" cy="466906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Disclaimer</a:t>
            </a:r>
          </a:p>
        </p:txBody>
      </p:sp>
    </p:spTree>
    <p:extLst>
      <p:ext uri="{BB962C8B-B14F-4D97-AF65-F5344CB8AC3E}">
        <p14:creationId xmlns:p14="http://schemas.microsoft.com/office/powerpoint/2010/main" val="2449219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ory </a:t>
            </a:r>
            <a:r>
              <a:rPr lang="en-US" dirty="0"/>
              <a:t>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/>
              <a:t>ES-S 004</a:t>
            </a:r>
            <a:br>
              <a:rPr lang="en-US" dirty="0"/>
            </a:br>
            <a:r>
              <a:rPr lang="en-US" dirty="0"/>
              <a:t>Select Dealership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Process Flow: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1304155" y="2172128"/>
            <a:ext cx="1114097" cy="3756484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Easy Finance AP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Registration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Process</a:t>
            </a:r>
            <a:endParaRPr lang="en-US" sz="14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2441112" y="306386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2418252" y="517827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2275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/>
              <a:t>ES-S 004</a:t>
            </a:r>
            <a:br>
              <a:rPr lang="en-US" dirty="0"/>
            </a:br>
            <a:r>
              <a:rPr lang="en-US" dirty="0"/>
              <a:t>Select Dealership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  <a:ln w="3175">
            <a:solidFill>
              <a:schemeClr val="tx1"/>
            </a:solidFill>
          </a:ln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Sequence Flow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786630" y="1619829"/>
            <a:ext cx="1397876" cy="420414"/>
          </a:xfrm>
          <a:prstGeom prst="rect">
            <a:avLst/>
          </a:prstGeom>
          <a:solidFill>
            <a:srgbClr val="B1C3B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140730" y="1619829"/>
            <a:ext cx="1397876" cy="420414"/>
          </a:xfrm>
          <a:prstGeom prst="rect">
            <a:avLst/>
          </a:prstGeom>
          <a:solidFill>
            <a:srgbClr val="B2CA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494830" y="1619829"/>
            <a:ext cx="1397876" cy="420414"/>
          </a:xfrm>
          <a:prstGeom prst="rect">
            <a:avLst/>
          </a:prstGeom>
          <a:solidFill>
            <a:srgbClr val="DF9A9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848930" y="1619829"/>
            <a:ext cx="1397876" cy="420414"/>
          </a:xfrm>
          <a:prstGeom prst="rect">
            <a:avLst/>
          </a:prstGeom>
          <a:solidFill>
            <a:srgbClr val="FFC299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045880" y="1619829"/>
            <a:ext cx="1397876" cy="420414"/>
          </a:xfrm>
          <a:prstGeom prst="rect">
            <a:avLst/>
          </a:prstGeom>
          <a:solidFill>
            <a:srgbClr val="FEE372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>
            <a:stCxn id="6" idx="2"/>
          </p:cNvCxnSpPr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6450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 smtClean="0"/>
              <a:t>ES-S 005:</a:t>
            </a: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Quotation Price</a:t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sz="1600" dirty="0"/>
              <a:t>As a user I want to adjust the MSRP to the agreed quotation price so that I can finance the quotation price </a:t>
            </a:r>
            <a:endParaRPr lang="en-US" sz="1600" dirty="0" smtClean="0"/>
          </a:p>
          <a:p>
            <a:pPr marL="0" indent="0">
              <a:buNone/>
            </a:pPr>
            <a:r>
              <a:rPr lang="en-US" sz="1600" dirty="0" smtClean="0"/>
              <a:t>&amp; </a:t>
            </a:r>
            <a:r>
              <a:rPr lang="en-US" sz="1600" dirty="0"/>
              <a:t>so that I can get a binding offer from the dealer</a:t>
            </a:r>
          </a:p>
          <a:p>
            <a:pPr marL="0" indent="0">
              <a:buNone/>
            </a:pPr>
            <a:r>
              <a:rPr lang="en-US" sz="1200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sz="12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200" dirty="0">
                <a:solidFill>
                  <a:srgbClr val="172B4D"/>
                </a:solidFill>
              </a:rPr>
              <a:t>The vehicle is already chosen and no pipeline check necessary</a:t>
            </a:r>
          </a:p>
          <a:p>
            <a:r>
              <a:rPr lang="en-US" sz="1200" dirty="0">
                <a:solidFill>
                  <a:srgbClr val="172B4D"/>
                </a:solidFill>
              </a:rPr>
              <a:t>The transaction price is already negotiated offline between user and sales manager</a:t>
            </a:r>
          </a:p>
          <a:p>
            <a:r>
              <a:rPr lang="en-US" sz="1200" dirty="0">
                <a:solidFill>
                  <a:srgbClr val="172B4D"/>
                </a:solidFill>
              </a:rPr>
              <a:t>Customer Successfully registered or used existing GCDM/BMW Account to login to BMW Easy Finance APP.</a:t>
            </a:r>
          </a:p>
          <a:p>
            <a:r>
              <a:rPr lang="en-US" sz="1200" dirty="0">
                <a:solidFill>
                  <a:srgbClr val="172B4D"/>
                </a:solidFill>
              </a:rPr>
              <a:t>Customer Successfully Redirected himself to Product Selection page upon using User friendly App’s Navigation </a:t>
            </a:r>
            <a:endParaRPr lang="en-US" sz="1200" dirty="0" smtClean="0">
              <a:solidFill>
                <a:srgbClr val="172B4D"/>
              </a:solidFill>
            </a:endParaRPr>
          </a:p>
          <a:p>
            <a:r>
              <a:rPr lang="en-US" sz="1200" dirty="0" smtClean="0">
                <a:solidFill>
                  <a:srgbClr val="172B4D"/>
                </a:solidFill>
              </a:rPr>
              <a:t>Customer is physically at the dealership in the reach of </a:t>
            </a:r>
            <a:r>
              <a:rPr lang="en-US" sz="1200" dirty="0" smtClean="0">
                <a:solidFill>
                  <a:srgbClr val="172B4D"/>
                </a:solidFill>
              </a:rPr>
              <a:t>F&amp;I</a:t>
            </a:r>
          </a:p>
          <a:p>
            <a:r>
              <a:rPr lang="en-US" sz="1200" dirty="0" smtClean="0">
                <a:solidFill>
                  <a:srgbClr val="172B4D"/>
                </a:solidFill>
              </a:rPr>
              <a:t>Dependency with the </a:t>
            </a:r>
            <a:r>
              <a:rPr lang="en-US" sz="1200" dirty="0" err="1" smtClean="0">
                <a:solidFill>
                  <a:srgbClr val="172B4D"/>
                </a:solidFill>
              </a:rPr>
              <a:t>Bindgin</a:t>
            </a:r>
            <a:r>
              <a:rPr lang="en-US" sz="1200" dirty="0" smtClean="0">
                <a:solidFill>
                  <a:srgbClr val="172B4D"/>
                </a:solidFill>
              </a:rPr>
              <a:t> offer management (DFE Review and Audit) EF-EP-005-ES-S 001, </a:t>
            </a:r>
            <a:r>
              <a:rPr lang="en-US" sz="1200" smtClean="0">
                <a:solidFill>
                  <a:srgbClr val="172B4D"/>
                </a:solidFill>
              </a:rPr>
              <a:t>ES-S 002 &amp; </a:t>
            </a:r>
            <a:r>
              <a:rPr lang="en-US" sz="1200" dirty="0" smtClean="0">
                <a:solidFill>
                  <a:srgbClr val="172B4D"/>
                </a:solidFill>
              </a:rPr>
              <a:t>ES-S 004</a:t>
            </a:r>
            <a:endParaRPr lang="en-US" sz="1200" dirty="0">
              <a:solidFill>
                <a:srgbClr val="172B4D"/>
              </a:solidFill>
            </a:endParaRPr>
          </a:p>
          <a:p>
            <a:pPr marL="0" indent="0">
              <a:buNone/>
            </a:pPr>
            <a:r>
              <a:rPr lang="en-US" sz="1200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sz="12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200" dirty="0">
                <a:solidFill>
                  <a:srgbClr val="172B4D"/>
                </a:solidFill>
              </a:rPr>
              <a:t>Customer should be allowed to </a:t>
            </a:r>
            <a:r>
              <a:rPr lang="en-US" sz="1200" dirty="0" smtClean="0">
                <a:solidFill>
                  <a:srgbClr val="172B4D"/>
                </a:solidFill>
              </a:rPr>
              <a:t>enter Quotation price into the free box.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200" dirty="0" smtClean="0">
                <a:solidFill>
                  <a:srgbClr val="172B4D"/>
                </a:solidFill>
              </a:rPr>
              <a:t>F&amp;I should be able to search for the Application ID, see the prefilled vehicle &amp; quotation price and confirm 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200" dirty="0" smtClean="0">
                <a:solidFill>
                  <a:srgbClr val="172B4D"/>
                </a:solidFill>
              </a:rPr>
              <a:t>The right dealership is selected by the user </a:t>
            </a:r>
            <a:r>
              <a:rPr lang="en-US" sz="1200" dirty="0" smtClean="0">
                <a:solidFill>
                  <a:srgbClr val="172B4D"/>
                </a:solidFill>
              </a:rPr>
              <a:t>(EF-EP-004-ES-S </a:t>
            </a:r>
            <a:r>
              <a:rPr lang="en-US" sz="1200" dirty="0" smtClean="0">
                <a:solidFill>
                  <a:srgbClr val="172B4D"/>
                </a:solidFill>
              </a:rPr>
              <a:t>004 / ES-S 006)</a:t>
            </a:r>
            <a:endParaRPr lang="en-US" sz="1200" dirty="0">
              <a:solidFill>
                <a:srgbClr val="172B4D"/>
              </a:solidFill>
            </a:endParaRPr>
          </a:p>
          <a:p>
            <a:pPr marL="0" lvl="0" indent="0">
              <a:buNone/>
            </a:pPr>
            <a:r>
              <a:rPr lang="en-US" sz="1200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sz="1200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pPr marL="342900" lvl="0" indent="-342900">
              <a:buAutoNum type="arabicPeriod"/>
            </a:pPr>
            <a:r>
              <a:rPr lang="en-US" sz="1200" dirty="0" smtClean="0">
                <a:solidFill>
                  <a:srgbClr val="172B4D"/>
                </a:solidFill>
                <a:latin typeface="+mj-lt"/>
              </a:rPr>
              <a:t>User enters the transaction price into the empty box and clicks submit</a:t>
            </a:r>
          </a:p>
          <a:p>
            <a:pPr marL="342900" lvl="0" indent="-342900">
              <a:buAutoNum type="arabicPeriod"/>
            </a:pPr>
            <a:r>
              <a:rPr lang="en-US" sz="1200" dirty="0" smtClean="0">
                <a:solidFill>
                  <a:srgbClr val="172B4D"/>
                </a:solidFill>
                <a:latin typeface="+mj-lt"/>
              </a:rPr>
              <a:t>Disclaimer is shown (vehicle availability and price is to be confirmed by dealer)</a:t>
            </a:r>
          </a:p>
          <a:p>
            <a:pPr marL="342900" lvl="0" indent="-342900">
              <a:buAutoNum type="arabicPeriod"/>
            </a:pPr>
            <a:r>
              <a:rPr lang="en-US" sz="1200" dirty="0" smtClean="0">
                <a:solidFill>
                  <a:srgbClr val="172B4D"/>
                </a:solidFill>
                <a:latin typeface="+mj-lt"/>
              </a:rPr>
              <a:t>For user the summary page is shown and a button to refresh</a:t>
            </a:r>
          </a:p>
          <a:p>
            <a:pPr marL="342900" lvl="0" indent="-342900">
              <a:buAutoNum type="arabicPeriod"/>
            </a:pPr>
            <a:r>
              <a:rPr lang="en-US" sz="1200" dirty="0" smtClean="0">
                <a:solidFill>
                  <a:srgbClr val="172B4D"/>
                </a:solidFill>
                <a:latin typeface="+mj-lt"/>
              </a:rPr>
              <a:t>F&amp;I searches by phone number / name the application ID in the DFE</a:t>
            </a:r>
          </a:p>
          <a:p>
            <a:pPr marL="342900" lvl="0" indent="-342900">
              <a:buAutoNum type="arabicPeriod"/>
            </a:pPr>
            <a:r>
              <a:rPr lang="en-US" sz="1200" dirty="0" smtClean="0">
                <a:solidFill>
                  <a:srgbClr val="172B4D"/>
                </a:solidFill>
                <a:latin typeface="+mj-lt"/>
              </a:rPr>
              <a:t>The vehicle data and the transaction price is prefilled in DFE </a:t>
            </a:r>
          </a:p>
          <a:p>
            <a:pPr marL="342900" lvl="0" indent="-342900">
              <a:buAutoNum type="arabicPeriod"/>
            </a:pPr>
            <a:r>
              <a:rPr lang="en-US" sz="1200" dirty="0" smtClean="0">
                <a:solidFill>
                  <a:srgbClr val="172B4D"/>
                </a:solidFill>
                <a:latin typeface="+mj-lt"/>
              </a:rPr>
              <a:t>If the transaction price is correct, F&amp;I clicks the confirm button and the data is synced to the user. The user can now refresh and continue by clicking continue.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200" dirty="0" smtClean="0">
                <a:solidFill>
                  <a:srgbClr val="172B4D"/>
                </a:solidFill>
                <a:latin typeface="+mj-lt"/>
              </a:rPr>
              <a:t>If the transaction price is not valid, F&amp;I overwrites the transaction price and clicks the confirm button </a:t>
            </a:r>
            <a:r>
              <a:rPr lang="en-US" sz="1200" dirty="0">
                <a:solidFill>
                  <a:srgbClr val="172B4D"/>
                </a:solidFill>
              </a:rPr>
              <a:t>and the data is synced to the </a:t>
            </a:r>
            <a:r>
              <a:rPr lang="en-US" sz="1200" dirty="0" smtClean="0">
                <a:solidFill>
                  <a:srgbClr val="172B4D"/>
                </a:solidFill>
              </a:rPr>
              <a:t>user. </a:t>
            </a:r>
            <a:r>
              <a:rPr lang="en-US" sz="1200" dirty="0">
                <a:solidFill>
                  <a:srgbClr val="172B4D"/>
                </a:solidFill>
              </a:rPr>
              <a:t>The user can now refresh and continue by clicking continue.</a:t>
            </a:r>
          </a:p>
          <a:p>
            <a:pPr marL="342900" lvl="0" indent="-342900">
              <a:buAutoNum type="arabicPeriod"/>
            </a:pPr>
            <a:endParaRPr lang="en-US" sz="12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sz="1200" dirty="0">
              <a:solidFill>
                <a:srgbClr val="172B4D"/>
              </a:solidFill>
            </a:endParaRPr>
          </a:p>
          <a:p>
            <a:pPr marL="342900" lvl="0" indent="-342900">
              <a:buAutoNum type="arabicPeriod"/>
            </a:pPr>
            <a:endParaRPr lang="en-US" sz="12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sz="1600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sz="1600" dirty="0"/>
          </a:p>
          <a:p>
            <a:endParaRPr lang="en-US" sz="1600" dirty="0"/>
          </a:p>
        </p:txBody>
      </p:sp>
      <p:sp>
        <p:nvSpPr>
          <p:cNvPr id="13" name="Rectangle 12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0794127" y="1048658"/>
            <a:ext cx="1229710" cy="38888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Legal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0794127" y="152975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</a:p>
        </p:txBody>
      </p:sp>
      <p:sp>
        <p:nvSpPr>
          <p:cNvPr id="16" name="Oval 15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10268610" y="1048658"/>
            <a:ext cx="399393" cy="388881"/>
          </a:xfrm>
          <a:prstGeom prst="ellipse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10268610" y="152975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0794127" y="201085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mpliance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10268610" y="201085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0238949" y="86098"/>
            <a:ext cx="1784888" cy="371274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OWNER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:  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PO (BA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)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0794127" y="2491952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ecurity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10268610" y="2491953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2299607" y="3447143"/>
            <a:ext cx="3187135" cy="230832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What happens</a:t>
            </a:r>
            <a:r>
              <a:rPr lang="en-US" sz="18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if the quotation price is not confirmed?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F&amp;I overwrites in DFE, confirms and the newly submitted transaction price is synchronize to the User. User cannot change the price submitted by the dealer.</a:t>
            </a:r>
            <a:endParaRPr lang="en-US" sz="1800" b="0" i="0" u="none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4230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/>
              <a:t>ES-S 005</a:t>
            </a:r>
            <a:br>
              <a:rPr lang="en-US" dirty="0"/>
            </a:br>
            <a:r>
              <a:rPr lang="en-US" dirty="0"/>
              <a:t>Quotation Pri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900" y="1528584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440" b="16655"/>
          <a:stretch/>
        </p:blipFill>
        <p:spPr>
          <a:xfrm>
            <a:off x="488948" y="2254521"/>
            <a:ext cx="2554696" cy="1785257"/>
          </a:xfrm>
          <a:prstGeom prst="rect">
            <a:avLst/>
          </a:prstGeom>
          <a:ln>
            <a:noFill/>
          </a:ln>
        </p:spPr>
      </p:pic>
      <p:sp>
        <p:nvSpPr>
          <p:cNvPr id="20" name="Rectangle 19"/>
          <p:cNvSpPr/>
          <p:nvPr/>
        </p:nvSpPr>
        <p:spPr>
          <a:xfrm>
            <a:off x="2566821" y="2540723"/>
            <a:ext cx="493977" cy="49530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505177" y="2540723"/>
            <a:ext cx="493977" cy="4191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498355" y="4039778"/>
            <a:ext cx="2545289" cy="135685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556583" y="3336060"/>
            <a:ext cx="2444627" cy="37964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515509" y="4124364"/>
            <a:ext cx="2444627" cy="37964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Negotiated </a:t>
            </a: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Transaction Price</a:t>
            </a:r>
          </a:p>
        </p:txBody>
      </p:sp>
      <p:sp>
        <p:nvSpPr>
          <p:cNvPr id="25" name="Rectangle 24"/>
          <p:cNvSpPr/>
          <p:nvPr/>
        </p:nvSpPr>
        <p:spPr>
          <a:xfrm>
            <a:off x="752165" y="4416015"/>
            <a:ext cx="1924226" cy="329065"/>
          </a:xfrm>
          <a:prstGeom prst="rect">
            <a:avLst/>
          </a:prstGeom>
          <a:solidFill>
            <a:schemeClr val="bg1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$ 250,  000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053986" y="1132507"/>
            <a:ext cx="843379" cy="3693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User 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8303752" y="1249513"/>
            <a:ext cx="2459047" cy="3693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DFE User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76115" y="2156213"/>
            <a:ext cx="5533373" cy="364818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3" name="Rectangle 32"/>
          <p:cNvSpPr/>
          <p:nvPr/>
        </p:nvSpPr>
        <p:spPr>
          <a:xfrm>
            <a:off x="6376115" y="3322986"/>
            <a:ext cx="3827428" cy="33011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 flipH="1">
            <a:off x="5881586" y="980999"/>
            <a:ext cx="25127" cy="5552682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ounded Rectangle 10"/>
          <p:cNvSpPr/>
          <p:nvPr/>
        </p:nvSpPr>
        <p:spPr>
          <a:xfrm>
            <a:off x="9183259" y="3336953"/>
            <a:ext cx="932155" cy="301628"/>
          </a:xfrm>
          <a:prstGeom prst="roundRect">
            <a:avLst/>
          </a:prstGeom>
          <a:solidFill>
            <a:srgbClr val="1C69D3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Confirm</a:t>
            </a:r>
            <a:endParaRPr lang="en-US" sz="16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39" name="Picture 3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1243" y="1528584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41" name="Rectangle 40"/>
          <p:cNvSpPr/>
          <p:nvPr/>
        </p:nvSpPr>
        <p:spPr>
          <a:xfrm>
            <a:off x="3268821" y="5444536"/>
            <a:ext cx="2416909" cy="359863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Refresh button</a:t>
            </a:r>
          </a:p>
        </p:txBody>
      </p:sp>
      <p:sp>
        <p:nvSpPr>
          <p:cNvPr id="42" name="Rectangle 41"/>
          <p:cNvSpPr/>
          <p:nvPr/>
        </p:nvSpPr>
        <p:spPr>
          <a:xfrm>
            <a:off x="3238541" y="5040041"/>
            <a:ext cx="1924226" cy="329065"/>
          </a:xfrm>
          <a:prstGeom prst="rect">
            <a:avLst/>
          </a:prstGeom>
          <a:solidFill>
            <a:schemeClr val="bg1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$ 250,  000</a:t>
            </a:r>
          </a:p>
        </p:txBody>
      </p:sp>
      <p:sp>
        <p:nvSpPr>
          <p:cNvPr id="43" name="Rectangle 42"/>
          <p:cNvSpPr/>
          <p:nvPr/>
        </p:nvSpPr>
        <p:spPr>
          <a:xfrm>
            <a:off x="7851338" y="3382976"/>
            <a:ext cx="1204196" cy="20958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$ 250,  000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6370975" y="1675542"/>
            <a:ext cx="4928376" cy="3693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Application ID search</a:t>
            </a:r>
            <a:r>
              <a:rPr lang="en-US" sz="18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by phone number / user name?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556583" y="4902200"/>
            <a:ext cx="2403553" cy="466906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Disclaimer</a:t>
            </a:r>
          </a:p>
        </p:txBody>
      </p:sp>
    </p:spTree>
    <p:extLst>
      <p:ext uri="{BB962C8B-B14F-4D97-AF65-F5344CB8AC3E}">
        <p14:creationId xmlns:p14="http://schemas.microsoft.com/office/powerpoint/2010/main" val="3580871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F-EP-004: </a:t>
            </a:r>
            <a:r>
              <a:rPr lang="en-US" b="0" dirty="0"/>
              <a:t>Products Selection (Dealer &amp; Vehicle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</a:rPr>
              <a:t>Story ID: ES-S </a:t>
            </a:r>
            <a:r>
              <a:rPr lang="en-US" dirty="0" smtClean="0">
                <a:solidFill>
                  <a:srgbClr val="0070C0"/>
                </a:solidFill>
              </a:rPr>
              <a:t>001: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 smtClean="0"/>
              <a:t>As a user I want </a:t>
            </a:r>
            <a:r>
              <a:rPr lang="en-US" dirty="0"/>
              <a:t>to select the </a:t>
            </a:r>
            <a:r>
              <a:rPr lang="en-US" dirty="0" smtClean="0"/>
              <a:t>vehicle so </a:t>
            </a:r>
            <a:r>
              <a:rPr lang="en-US" dirty="0"/>
              <a:t>that I can start the finance application process</a:t>
            </a:r>
          </a:p>
          <a:p>
            <a:pPr marL="0" indent="0">
              <a:buNone/>
            </a:pPr>
            <a:r>
              <a:rPr lang="en-US" dirty="0" smtClean="0">
                <a:solidFill>
                  <a:srgbClr val="0070C0"/>
                </a:solidFill>
              </a:rPr>
              <a:t>Story </a:t>
            </a:r>
            <a:r>
              <a:rPr lang="en-US" dirty="0">
                <a:solidFill>
                  <a:srgbClr val="0070C0"/>
                </a:solidFill>
              </a:rPr>
              <a:t>ID: ES-S </a:t>
            </a:r>
            <a:r>
              <a:rPr lang="en-US" dirty="0" smtClean="0">
                <a:solidFill>
                  <a:srgbClr val="0070C0"/>
                </a:solidFill>
              </a:rPr>
              <a:t>002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/>
              <a:t>As a user </a:t>
            </a:r>
            <a:r>
              <a:rPr lang="en-US" dirty="0" smtClean="0"/>
              <a:t>I </a:t>
            </a:r>
            <a:r>
              <a:rPr lang="en-US" dirty="0"/>
              <a:t>want to have the information of the vehicle displayed (pictures, options</a:t>
            </a:r>
            <a:r>
              <a:rPr lang="en-US" dirty="0" smtClean="0"/>
              <a:t>,...) so </a:t>
            </a:r>
            <a:r>
              <a:rPr lang="en-US" dirty="0"/>
              <a:t>that I can see which car I want to purchase / finance. </a:t>
            </a:r>
          </a:p>
          <a:p>
            <a:pPr marL="0" indent="0">
              <a:buNone/>
            </a:pPr>
            <a:r>
              <a:rPr lang="en-US" dirty="0" smtClean="0">
                <a:solidFill>
                  <a:srgbClr val="0070C0"/>
                </a:solidFill>
              </a:rPr>
              <a:t>Story </a:t>
            </a:r>
            <a:r>
              <a:rPr lang="en-US" dirty="0">
                <a:solidFill>
                  <a:srgbClr val="0070C0"/>
                </a:solidFill>
              </a:rPr>
              <a:t>ID: ES-S </a:t>
            </a:r>
            <a:r>
              <a:rPr lang="en-US" dirty="0" smtClean="0">
                <a:solidFill>
                  <a:srgbClr val="0070C0"/>
                </a:solidFill>
              </a:rPr>
              <a:t>003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 smtClean="0"/>
              <a:t>XXX (duplicate)</a:t>
            </a:r>
          </a:p>
          <a:p>
            <a:pPr marL="0" indent="0">
              <a:buNone/>
            </a:pPr>
            <a:r>
              <a:rPr lang="en-US" dirty="0" smtClean="0">
                <a:solidFill>
                  <a:srgbClr val="0070C0"/>
                </a:solidFill>
              </a:rPr>
              <a:t>Story </a:t>
            </a:r>
            <a:r>
              <a:rPr lang="en-US" dirty="0">
                <a:solidFill>
                  <a:srgbClr val="0070C0"/>
                </a:solidFill>
              </a:rPr>
              <a:t>ID: ES-S </a:t>
            </a:r>
            <a:r>
              <a:rPr lang="en-US" dirty="0" smtClean="0">
                <a:solidFill>
                  <a:srgbClr val="0070C0"/>
                </a:solidFill>
              </a:rPr>
              <a:t>004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 smtClean="0"/>
              <a:t>As a user I </a:t>
            </a:r>
            <a:r>
              <a:rPr lang="en-US" dirty="0"/>
              <a:t>want to chose the dealership of the car I would like to purchase / </a:t>
            </a:r>
            <a:r>
              <a:rPr lang="en-US" dirty="0" smtClean="0"/>
              <a:t>finance so </a:t>
            </a:r>
            <a:r>
              <a:rPr lang="en-US" dirty="0"/>
              <a:t>that I can continue the process later on in my next </a:t>
            </a:r>
            <a:r>
              <a:rPr lang="en-US" dirty="0" smtClean="0"/>
              <a:t>visit and so </a:t>
            </a:r>
            <a:r>
              <a:rPr lang="en-US" dirty="0"/>
              <a:t>that I can get the dealer specific vehicle / finance </a:t>
            </a:r>
            <a:r>
              <a:rPr lang="en-US" dirty="0" smtClean="0"/>
              <a:t>product.</a:t>
            </a:r>
            <a:endParaRPr lang="en-US" dirty="0"/>
          </a:p>
          <a:p>
            <a:pPr marL="0" indent="0">
              <a:buNone/>
            </a:pPr>
            <a:r>
              <a:rPr lang="en-US" dirty="0" smtClean="0">
                <a:solidFill>
                  <a:srgbClr val="0070C0"/>
                </a:solidFill>
              </a:rPr>
              <a:t>Story </a:t>
            </a:r>
            <a:r>
              <a:rPr lang="en-US" dirty="0">
                <a:solidFill>
                  <a:srgbClr val="0070C0"/>
                </a:solidFill>
              </a:rPr>
              <a:t>ID: ES-S </a:t>
            </a:r>
            <a:r>
              <a:rPr lang="en-US" dirty="0" smtClean="0">
                <a:solidFill>
                  <a:srgbClr val="0070C0"/>
                </a:solidFill>
              </a:rPr>
              <a:t>005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/>
              <a:t>As a user </a:t>
            </a:r>
            <a:r>
              <a:rPr lang="en-US" dirty="0" smtClean="0"/>
              <a:t>I </a:t>
            </a:r>
            <a:r>
              <a:rPr lang="en-US" dirty="0"/>
              <a:t>want to adjust the MSRP to the agreed quotation </a:t>
            </a:r>
            <a:r>
              <a:rPr lang="en-US" dirty="0" smtClean="0"/>
              <a:t>price so </a:t>
            </a:r>
            <a:r>
              <a:rPr lang="en-US" dirty="0"/>
              <a:t>that I can finance the quotation </a:t>
            </a:r>
            <a:r>
              <a:rPr lang="en-US" dirty="0" smtClean="0"/>
              <a:t>price &amp; so </a:t>
            </a:r>
            <a:r>
              <a:rPr lang="en-US" dirty="0"/>
              <a:t>that I can get a binding offer from the </a:t>
            </a:r>
            <a:r>
              <a:rPr lang="en-US" dirty="0" smtClean="0"/>
              <a:t>dealer</a:t>
            </a:r>
          </a:p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</a:rPr>
              <a:t>Story ID: ES-S </a:t>
            </a:r>
            <a:r>
              <a:rPr lang="en-US" dirty="0" smtClean="0">
                <a:solidFill>
                  <a:srgbClr val="0070C0"/>
                </a:solidFill>
              </a:rPr>
              <a:t>006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 smtClean="0"/>
              <a:t>As a user I </a:t>
            </a:r>
            <a:r>
              <a:rPr lang="en-US" dirty="0"/>
              <a:t>want the Dealer automatically </a:t>
            </a:r>
            <a:r>
              <a:rPr lang="en-US" dirty="0" smtClean="0"/>
              <a:t>pre-filled</a:t>
            </a:r>
            <a:r>
              <a:rPr lang="en-US" dirty="0"/>
              <a:t> </a:t>
            </a:r>
            <a:r>
              <a:rPr lang="en-US" dirty="0" smtClean="0"/>
              <a:t>so </a:t>
            </a:r>
            <a:r>
              <a:rPr lang="en-US" dirty="0"/>
              <a:t>that I don't have to search for the specific dealer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Oval 3"/>
          <p:cNvSpPr/>
          <p:nvPr/>
        </p:nvSpPr>
        <p:spPr>
          <a:xfrm>
            <a:off x="9596761" y="1820411"/>
            <a:ext cx="2125340" cy="956345"/>
          </a:xfrm>
          <a:prstGeom prst="ellipse">
            <a:avLst/>
          </a:prstGeom>
          <a:solidFill>
            <a:srgbClr val="00B05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Necessary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? 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9909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/>
              <a:t>ES-S 005</a:t>
            </a:r>
            <a:br>
              <a:rPr lang="en-US" dirty="0"/>
            </a:br>
            <a:r>
              <a:rPr lang="en-US" dirty="0"/>
              <a:t>Quotation Pri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Wireframes</a:t>
            </a:r>
            <a:endParaRPr lang="en-US" dirty="0"/>
          </a:p>
        </p:txBody>
      </p:sp>
      <p:sp>
        <p:nvSpPr>
          <p:cNvPr id="29" name="TextBox 28"/>
          <p:cNvSpPr txBox="1"/>
          <p:nvPr/>
        </p:nvSpPr>
        <p:spPr>
          <a:xfrm>
            <a:off x="2013007" y="1224215"/>
            <a:ext cx="843379" cy="3693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User 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6072280" y="1221412"/>
            <a:ext cx="2459047" cy="3693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DFE User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33" name="Straight Connector 32"/>
          <p:cNvCxnSpPr/>
          <p:nvPr/>
        </p:nvCxnSpPr>
        <p:spPr>
          <a:xfrm flipH="1">
            <a:off x="4860959" y="997307"/>
            <a:ext cx="25127" cy="5552682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 flipH="1">
            <a:off x="9774820" y="1052513"/>
            <a:ext cx="25127" cy="5552682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/>
        </p:nvSpPr>
        <p:spPr>
          <a:xfrm>
            <a:off x="10649868" y="1221412"/>
            <a:ext cx="843379" cy="3693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User 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100" y="1827407"/>
            <a:ext cx="2205597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440" b="16655"/>
          <a:stretch/>
        </p:blipFill>
        <p:spPr>
          <a:xfrm>
            <a:off x="235980" y="2443191"/>
            <a:ext cx="2184052" cy="1514364"/>
          </a:xfrm>
          <a:prstGeom prst="rect">
            <a:avLst/>
          </a:prstGeom>
          <a:ln>
            <a:noFill/>
          </a:ln>
        </p:spPr>
      </p:pic>
      <p:sp>
        <p:nvSpPr>
          <p:cNvPr id="21" name="Rectangle 20"/>
          <p:cNvSpPr/>
          <p:nvPr/>
        </p:nvSpPr>
        <p:spPr>
          <a:xfrm>
            <a:off x="2012388" y="2685965"/>
            <a:ext cx="422309" cy="42014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49855" y="2685965"/>
            <a:ext cx="422309" cy="35550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244023" y="3957556"/>
            <a:ext cx="2176010" cy="115097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293803" y="3360619"/>
            <a:ext cx="2089952" cy="32203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258688" y="4029307"/>
            <a:ext cx="2089952" cy="32203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Negotiated </a:t>
            </a: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Transaction Price</a:t>
            </a:r>
          </a:p>
        </p:txBody>
      </p:sp>
      <p:sp>
        <p:nvSpPr>
          <p:cNvPr id="26" name="Rectangle 25"/>
          <p:cNvSpPr/>
          <p:nvPr/>
        </p:nvSpPr>
        <p:spPr>
          <a:xfrm>
            <a:off x="461009" y="4276703"/>
            <a:ext cx="1645053" cy="279133"/>
          </a:xfrm>
          <a:prstGeom prst="rect">
            <a:avLst/>
          </a:prstGeom>
          <a:solidFill>
            <a:schemeClr val="bg1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$ 250,  000</a:t>
            </a:r>
          </a:p>
        </p:txBody>
      </p:sp>
      <p:sp>
        <p:nvSpPr>
          <p:cNvPr id="27" name="Oval 26"/>
          <p:cNvSpPr/>
          <p:nvPr/>
        </p:nvSpPr>
        <p:spPr>
          <a:xfrm>
            <a:off x="1542571" y="4186677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8" name="Oval 27"/>
          <p:cNvSpPr/>
          <p:nvPr/>
        </p:nvSpPr>
        <p:spPr>
          <a:xfrm>
            <a:off x="1607714" y="4251313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31" name="Picture 3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87111" y="2359800"/>
            <a:ext cx="4730572" cy="309461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2" name="Rectangle 31"/>
          <p:cNvSpPr/>
          <p:nvPr/>
        </p:nvSpPr>
        <p:spPr>
          <a:xfrm>
            <a:off x="4987111" y="3349529"/>
            <a:ext cx="3272131" cy="28002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4" name="Oval 33"/>
          <p:cNvSpPr/>
          <p:nvPr/>
        </p:nvSpPr>
        <p:spPr>
          <a:xfrm>
            <a:off x="1176131" y="5106989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5" name="Oval 34"/>
          <p:cNvSpPr/>
          <p:nvPr/>
        </p:nvSpPr>
        <p:spPr>
          <a:xfrm>
            <a:off x="1241275" y="5171626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7386985" y="3361376"/>
            <a:ext cx="796915" cy="255859"/>
          </a:xfrm>
          <a:prstGeom prst="roundRect">
            <a:avLst/>
          </a:prstGeom>
          <a:solidFill>
            <a:srgbClr val="1C69D3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Confirm</a:t>
            </a:r>
            <a:endParaRPr lang="en-US" sz="12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7668" y="1827407"/>
            <a:ext cx="2205597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8" name="Rectangle 37"/>
          <p:cNvSpPr/>
          <p:nvPr/>
        </p:nvSpPr>
        <p:spPr>
          <a:xfrm>
            <a:off x="2612540" y="5149157"/>
            <a:ext cx="2066255" cy="305258"/>
          </a:xfrm>
          <a:prstGeom prst="rect">
            <a:avLst/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Refresh button</a:t>
            </a:r>
          </a:p>
        </p:txBody>
      </p:sp>
      <p:sp>
        <p:nvSpPr>
          <p:cNvPr id="39" name="Rectangle 38"/>
          <p:cNvSpPr/>
          <p:nvPr/>
        </p:nvSpPr>
        <p:spPr>
          <a:xfrm>
            <a:off x="2586653" y="4806040"/>
            <a:ext cx="1645053" cy="279133"/>
          </a:xfrm>
          <a:prstGeom prst="rect">
            <a:avLst/>
          </a:prstGeom>
          <a:solidFill>
            <a:schemeClr val="bg1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$ 250,  000</a:t>
            </a:r>
          </a:p>
        </p:txBody>
      </p:sp>
      <p:sp>
        <p:nvSpPr>
          <p:cNvPr id="40" name="Rectangle 39"/>
          <p:cNvSpPr/>
          <p:nvPr/>
        </p:nvSpPr>
        <p:spPr>
          <a:xfrm>
            <a:off x="6248304" y="3400416"/>
            <a:ext cx="1029487" cy="17777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$ 250,  000</a:t>
            </a:r>
          </a:p>
        </p:txBody>
      </p:sp>
      <p:pic>
        <p:nvPicPr>
          <p:cNvPr id="41" name="Picture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8760" y="1845343"/>
            <a:ext cx="2205597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42" name="Rectangle 41"/>
          <p:cNvSpPr/>
          <p:nvPr/>
        </p:nvSpPr>
        <p:spPr>
          <a:xfrm>
            <a:off x="10017745" y="4823976"/>
            <a:ext cx="1645053" cy="279133"/>
          </a:xfrm>
          <a:prstGeom prst="rect">
            <a:avLst/>
          </a:prstGeom>
          <a:solidFill>
            <a:schemeClr val="bg1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$ 250,  000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4982717" y="1952066"/>
            <a:ext cx="2703503" cy="31329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Application ID search</a:t>
            </a:r>
            <a:r>
              <a:rPr lang="en-US" sz="18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?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6" name="Oval 45"/>
          <p:cNvSpPr/>
          <p:nvPr/>
        </p:nvSpPr>
        <p:spPr>
          <a:xfrm>
            <a:off x="3440820" y="5144849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7" name="Oval 46"/>
          <p:cNvSpPr/>
          <p:nvPr/>
        </p:nvSpPr>
        <p:spPr>
          <a:xfrm>
            <a:off x="3505963" y="5209486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8" name="Oval 47"/>
          <p:cNvSpPr/>
          <p:nvPr/>
        </p:nvSpPr>
        <p:spPr>
          <a:xfrm>
            <a:off x="7567564" y="3335231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9" name="Oval 48"/>
          <p:cNvSpPr/>
          <p:nvPr/>
        </p:nvSpPr>
        <p:spPr>
          <a:xfrm>
            <a:off x="7632708" y="3399868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50" name="Oval 49"/>
          <p:cNvSpPr/>
          <p:nvPr/>
        </p:nvSpPr>
        <p:spPr>
          <a:xfrm>
            <a:off x="10881327" y="5127631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51" name="Oval 50"/>
          <p:cNvSpPr/>
          <p:nvPr/>
        </p:nvSpPr>
        <p:spPr>
          <a:xfrm>
            <a:off x="10946470" y="5192268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026" name="19C8329D-8067-44C8-A008-4ECECB47C3A5" descr="19C8329D-8067-44C8-A008-4ECECB47C3A5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361"/>
          <a:stretch/>
        </p:blipFill>
        <p:spPr bwMode="auto">
          <a:xfrm>
            <a:off x="41090" y="7012462"/>
            <a:ext cx="2384576" cy="12988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4"/>
          <p:cNvGrpSpPr/>
          <p:nvPr/>
        </p:nvGrpSpPr>
        <p:grpSpPr>
          <a:xfrm>
            <a:off x="-2248360" y="1827407"/>
            <a:ext cx="2260049" cy="3892483"/>
            <a:chOff x="-2491673" y="1827407"/>
            <a:chExt cx="2617998" cy="4588778"/>
          </a:xfrm>
        </p:grpSpPr>
        <p:pic>
          <p:nvPicPr>
            <p:cNvPr id="52" name="Picture 51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2491673" y="1827407"/>
              <a:ext cx="2579898" cy="4588778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sp>
          <p:nvSpPr>
            <p:cNvPr id="53" name="Oval 52"/>
            <p:cNvSpPr/>
            <p:nvPr/>
          </p:nvSpPr>
          <p:spPr>
            <a:xfrm>
              <a:off x="-474618" y="4211148"/>
              <a:ext cx="504825" cy="485775"/>
            </a:xfrm>
            <a:prstGeom prst="ellipse">
              <a:avLst/>
            </a:prstGeom>
            <a:noFill/>
            <a:ln w="38100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b="0" i="0" u="none" baseline="0" dirty="0" err="1" smtClean="0">
                <a:solidFill>
                  <a:srgbClr val="666666"/>
                </a:solidFill>
                <a:latin typeface="BMW Group Condensed" panose="020B0606020202020204" pitchFamily="34" charset="0"/>
              </a:endParaRPr>
            </a:p>
          </p:txBody>
        </p:sp>
        <p:sp>
          <p:nvSpPr>
            <p:cNvPr id="54" name="Oval 53"/>
            <p:cNvSpPr/>
            <p:nvPr/>
          </p:nvSpPr>
          <p:spPr>
            <a:xfrm>
              <a:off x="-398419" y="4287347"/>
              <a:ext cx="352425" cy="333375"/>
            </a:xfrm>
            <a:prstGeom prst="ellipse">
              <a:avLst/>
            </a:prstGeom>
            <a:solidFill>
              <a:srgbClr val="FFC000">
                <a:alpha val="60000"/>
              </a:srgbClr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b="0" i="0" u="none" baseline="0" dirty="0" err="1" smtClean="0">
                <a:solidFill>
                  <a:srgbClr val="666666"/>
                </a:solidFill>
                <a:latin typeface="BMW Group Condensed" panose="020B0606020202020204" pitchFamily="34" charset="0"/>
              </a:endParaRPr>
            </a:p>
          </p:txBody>
        </p:sp>
        <p:sp>
          <p:nvSpPr>
            <p:cNvPr id="55" name="Oval 54"/>
            <p:cNvSpPr/>
            <p:nvPr/>
          </p:nvSpPr>
          <p:spPr>
            <a:xfrm>
              <a:off x="-1560087" y="4896948"/>
              <a:ext cx="504825" cy="485775"/>
            </a:xfrm>
            <a:prstGeom prst="ellipse">
              <a:avLst/>
            </a:prstGeom>
            <a:noFill/>
            <a:ln w="38100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b="0" i="0" u="none" baseline="0" dirty="0" err="1" smtClean="0">
                <a:solidFill>
                  <a:srgbClr val="666666"/>
                </a:solidFill>
                <a:latin typeface="BMW Group Condensed" panose="020B0606020202020204" pitchFamily="34" charset="0"/>
              </a:endParaRPr>
            </a:p>
          </p:txBody>
        </p:sp>
        <p:sp>
          <p:nvSpPr>
            <p:cNvPr id="56" name="Oval 55"/>
            <p:cNvSpPr/>
            <p:nvPr/>
          </p:nvSpPr>
          <p:spPr>
            <a:xfrm>
              <a:off x="-1483888" y="4973147"/>
              <a:ext cx="352425" cy="333375"/>
            </a:xfrm>
            <a:prstGeom prst="ellipse">
              <a:avLst/>
            </a:prstGeom>
            <a:solidFill>
              <a:srgbClr val="FFC000">
                <a:alpha val="60000"/>
              </a:srgbClr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b="0" i="0" u="none" baseline="0" dirty="0" err="1" smtClean="0">
                <a:solidFill>
                  <a:srgbClr val="666666"/>
                </a:solidFill>
                <a:latin typeface="BMW Group Condensed" panose="020B0606020202020204" pitchFamily="34" charset="0"/>
              </a:endParaRPr>
            </a:p>
          </p:txBody>
        </p:sp>
        <p:sp>
          <p:nvSpPr>
            <p:cNvPr id="57" name="Oval 56"/>
            <p:cNvSpPr/>
            <p:nvPr/>
          </p:nvSpPr>
          <p:spPr>
            <a:xfrm>
              <a:off x="-378500" y="4896948"/>
              <a:ext cx="504825" cy="485775"/>
            </a:xfrm>
            <a:prstGeom prst="ellipse">
              <a:avLst/>
            </a:prstGeom>
            <a:noFill/>
            <a:ln w="38100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b="0" i="0" u="none" baseline="0" dirty="0" err="1" smtClean="0">
                <a:solidFill>
                  <a:srgbClr val="666666"/>
                </a:solidFill>
                <a:latin typeface="BMW Group Condensed" panose="020B0606020202020204" pitchFamily="34" charset="0"/>
              </a:endParaRPr>
            </a:p>
          </p:txBody>
        </p:sp>
        <p:sp>
          <p:nvSpPr>
            <p:cNvPr id="58" name="Oval 57"/>
            <p:cNvSpPr/>
            <p:nvPr/>
          </p:nvSpPr>
          <p:spPr>
            <a:xfrm>
              <a:off x="-302301" y="4973147"/>
              <a:ext cx="352425" cy="333375"/>
            </a:xfrm>
            <a:prstGeom prst="ellipse">
              <a:avLst/>
            </a:prstGeom>
            <a:solidFill>
              <a:srgbClr val="FFC000">
                <a:alpha val="60000"/>
              </a:srgbClr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b="0" i="0" u="none" baseline="0" dirty="0" err="1" smtClean="0">
                <a:solidFill>
                  <a:srgbClr val="666666"/>
                </a:solidFill>
                <a:latin typeface="BMW Group Condensed" panose="020B0606020202020204" pitchFamily="34" charset="0"/>
              </a:endParaRPr>
            </a:p>
          </p:txBody>
        </p:sp>
        <p:sp>
          <p:nvSpPr>
            <p:cNvPr id="59" name="Oval 58"/>
            <p:cNvSpPr/>
            <p:nvPr/>
          </p:nvSpPr>
          <p:spPr>
            <a:xfrm>
              <a:off x="-1383876" y="5710766"/>
              <a:ext cx="504825" cy="485775"/>
            </a:xfrm>
            <a:prstGeom prst="ellipse">
              <a:avLst/>
            </a:prstGeom>
            <a:noFill/>
            <a:ln w="38100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b="0" i="0" u="none" baseline="0" dirty="0" err="1" smtClean="0">
                <a:solidFill>
                  <a:srgbClr val="666666"/>
                </a:solidFill>
                <a:latin typeface="BMW Group Condensed" panose="020B0606020202020204" pitchFamily="34" charset="0"/>
              </a:endParaRPr>
            </a:p>
          </p:txBody>
        </p:sp>
        <p:sp>
          <p:nvSpPr>
            <p:cNvPr id="60" name="Oval 59"/>
            <p:cNvSpPr/>
            <p:nvPr/>
          </p:nvSpPr>
          <p:spPr>
            <a:xfrm>
              <a:off x="-1307677" y="5786965"/>
              <a:ext cx="352425" cy="333375"/>
            </a:xfrm>
            <a:prstGeom prst="ellipse">
              <a:avLst/>
            </a:prstGeom>
            <a:solidFill>
              <a:srgbClr val="FFC000">
                <a:alpha val="60000"/>
              </a:srgbClr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b="0" i="0" u="none" baseline="0" dirty="0" err="1" smtClean="0">
                <a:solidFill>
                  <a:srgbClr val="666666"/>
                </a:solidFill>
                <a:latin typeface="BMW Group Condensed" panose="020B0606020202020204" pitchFamily="34" charset="0"/>
              </a:endParaRPr>
            </a:p>
          </p:txBody>
        </p:sp>
        <p:sp>
          <p:nvSpPr>
            <p:cNvPr id="61" name="Oval 60"/>
            <p:cNvSpPr/>
            <p:nvPr/>
          </p:nvSpPr>
          <p:spPr>
            <a:xfrm>
              <a:off x="-2491673" y="4134947"/>
              <a:ext cx="504825" cy="485775"/>
            </a:xfrm>
            <a:prstGeom prst="ellipse">
              <a:avLst/>
            </a:prstGeom>
            <a:noFill/>
            <a:ln w="38100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b="0" i="0" u="none" baseline="0" dirty="0" err="1" smtClean="0">
                <a:solidFill>
                  <a:srgbClr val="666666"/>
                </a:solidFill>
                <a:latin typeface="BMW Group Condensed" panose="020B0606020202020204" pitchFamily="34" charset="0"/>
              </a:endParaRPr>
            </a:p>
          </p:txBody>
        </p:sp>
        <p:sp>
          <p:nvSpPr>
            <p:cNvPr id="62" name="Oval 61"/>
            <p:cNvSpPr/>
            <p:nvPr/>
          </p:nvSpPr>
          <p:spPr>
            <a:xfrm>
              <a:off x="-2415474" y="4211146"/>
              <a:ext cx="352425" cy="333375"/>
            </a:xfrm>
            <a:prstGeom prst="ellipse">
              <a:avLst/>
            </a:prstGeom>
            <a:solidFill>
              <a:srgbClr val="FFC000">
                <a:alpha val="60000"/>
              </a:srgbClr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b="0" i="0" u="none" baseline="0" dirty="0" err="1" smtClean="0">
                <a:solidFill>
                  <a:srgbClr val="666666"/>
                </a:solidFill>
                <a:latin typeface="BMW Group Condensed" panose="020B0606020202020204" pitchFamily="34" charset="0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-2415474" y="2671270"/>
              <a:ext cx="914400" cy="29776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b="0" i="0" u="none" baseline="0" dirty="0" err="1" smtClean="0">
                <a:solidFill>
                  <a:srgbClr val="666666"/>
                </a:solidFill>
                <a:latin typeface="BMW Group Condensed" panose="020B0606020202020204" pitchFamily="34" charset="0"/>
              </a:endParaRPr>
            </a:p>
          </p:txBody>
        </p:sp>
      </p:grpSp>
      <p:sp>
        <p:nvSpPr>
          <p:cNvPr id="65" name="Rectangle 64"/>
          <p:cNvSpPr/>
          <p:nvPr/>
        </p:nvSpPr>
        <p:spPr>
          <a:xfrm>
            <a:off x="315697" y="4635486"/>
            <a:ext cx="2032943" cy="406864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Disclaimer</a:t>
            </a:r>
          </a:p>
        </p:txBody>
      </p:sp>
    </p:spTree>
    <p:extLst>
      <p:ext uri="{BB962C8B-B14F-4D97-AF65-F5344CB8AC3E}">
        <p14:creationId xmlns:p14="http://schemas.microsoft.com/office/powerpoint/2010/main" val="1174280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/>
              <a:t>ES-S 005</a:t>
            </a:r>
            <a:br>
              <a:rPr lang="en-US" dirty="0"/>
            </a:br>
            <a:r>
              <a:rPr lang="en-US" dirty="0"/>
              <a:t>Quotation Pri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Process Flow:</a:t>
            </a:r>
            <a:endParaRPr lang="en-US" dirty="0"/>
          </a:p>
        </p:txBody>
      </p:sp>
      <p:sp>
        <p:nvSpPr>
          <p:cNvPr id="8" name="Rounded Rectangle 7"/>
          <p:cNvSpPr/>
          <p:nvPr/>
        </p:nvSpPr>
        <p:spPr>
          <a:xfrm>
            <a:off x="488948" y="2038778"/>
            <a:ext cx="1114097" cy="3873668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Easy Finance AP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Quotation Price</a:t>
            </a:r>
            <a:r>
              <a:rPr lang="en-US" sz="1400" b="0" i="0" u="none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 Confirmation</a:t>
            </a:r>
            <a:endParaRPr lang="en-US" sz="14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9" name="Straight Arrow Connector 8"/>
          <p:cNvCxnSpPr/>
          <p:nvPr/>
        </p:nvCxnSpPr>
        <p:spPr>
          <a:xfrm>
            <a:off x="1625905" y="293051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Rounded Rectangle 10"/>
          <p:cNvSpPr/>
          <p:nvPr/>
        </p:nvSpPr>
        <p:spPr>
          <a:xfrm>
            <a:off x="2335045" y="2114279"/>
            <a:ext cx="1114097" cy="1181371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User: Main Applicant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1625905" y="5321761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4" name="Rounded Rectangle 13"/>
          <p:cNvSpPr/>
          <p:nvPr/>
        </p:nvSpPr>
        <p:spPr>
          <a:xfrm>
            <a:off x="2357905" y="4731075"/>
            <a:ext cx="1114097" cy="1181371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User: F&amp;I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2357905" y="3422677"/>
            <a:ext cx="1114097" cy="1181371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User: Co-Borrower /Guarantor</a:t>
            </a:r>
          </a:p>
        </p:txBody>
      </p:sp>
    </p:spTree>
    <p:extLst>
      <p:ext uri="{BB962C8B-B14F-4D97-AF65-F5344CB8AC3E}">
        <p14:creationId xmlns:p14="http://schemas.microsoft.com/office/powerpoint/2010/main" val="14940574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/>
              <a:t>ES-S 005</a:t>
            </a:r>
            <a:br>
              <a:rPr lang="en-US" dirty="0"/>
            </a:br>
            <a:r>
              <a:rPr lang="en-US" dirty="0"/>
              <a:t>Quotation Pri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  <a:ln w="3175">
            <a:solidFill>
              <a:schemeClr val="tx1"/>
            </a:solidFill>
          </a:ln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Sequence Flow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786630" y="1619829"/>
            <a:ext cx="1397876" cy="420414"/>
          </a:xfrm>
          <a:prstGeom prst="rect">
            <a:avLst/>
          </a:prstGeom>
          <a:solidFill>
            <a:srgbClr val="B1C3B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140730" y="1619829"/>
            <a:ext cx="1397876" cy="420414"/>
          </a:xfrm>
          <a:prstGeom prst="rect">
            <a:avLst/>
          </a:prstGeom>
          <a:solidFill>
            <a:srgbClr val="B2CA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494830" y="1619829"/>
            <a:ext cx="1397876" cy="420414"/>
          </a:xfrm>
          <a:prstGeom prst="rect">
            <a:avLst/>
          </a:prstGeom>
          <a:solidFill>
            <a:srgbClr val="DF9A9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848930" y="1619829"/>
            <a:ext cx="1397876" cy="420414"/>
          </a:xfrm>
          <a:prstGeom prst="rect">
            <a:avLst/>
          </a:prstGeom>
          <a:solidFill>
            <a:srgbClr val="FFC299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045880" y="1619829"/>
            <a:ext cx="1397876" cy="420414"/>
          </a:xfrm>
          <a:prstGeom prst="rect">
            <a:avLst/>
          </a:prstGeom>
          <a:solidFill>
            <a:srgbClr val="FEE372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>
            <a:stCxn id="6" idx="2"/>
          </p:cNvCxnSpPr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3894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838" y="351039"/>
            <a:ext cx="11224685" cy="701474"/>
          </a:xfrm>
        </p:spPr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 smtClean="0"/>
              <a:t>ES-S 006</a:t>
            </a:r>
            <a:r>
              <a:rPr lang="en-US" dirty="0"/>
              <a:t>:</a:t>
            </a:r>
            <a:br>
              <a:rPr lang="en-US" dirty="0"/>
            </a:br>
            <a:r>
              <a:rPr lang="en-US" dirty="0" smtClean="0"/>
              <a:t>LBS Dealership selection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I want the Dealer automatically pre-filled so that I don't have to search for the specific dealer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>
                <a:solidFill>
                  <a:srgbClr val="172B4D"/>
                </a:solidFill>
              </a:rPr>
              <a:t>The vehicle is already chosen and no pipeline check necessary</a:t>
            </a:r>
          </a:p>
          <a:p>
            <a:r>
              <a:rPr lang="en-US" sz="1600" dirty="0" smtClean="0">
                <a:solidFill>
                  <a:srgbClr val="172B4D"/>
                </a:solidFill>
              </a:rPr>
              <a:t>Customer </a:t>
            </a:r>
            <a:r>
              <a:rPr lang="en-US" sz="1600" dirty="0">
                <a:solidFill>
                  <a:srgbClr val="172B4D"/>
                </a:solidFill>
              </a:rPr>
              <a:t>Successfully registered or used existing GCDM/BMW Account to login to BMW Easy Finance APP.</a:t>
            </a:r>
          </a:p>
          <a:p>
            <a:r>
              <a:rPr lang="en-US" sz="1600" dirty="0">
                <a:solidFill>
                  <a:srgbClr val="172B4D"/>
                </a:solidFill>
              </a:rPr>
              <a:t>Customer Successfully Redirected himself to Product Selection page upon using User friendly App’s Navigation </a:t>
            </a:r>
          </a:p>
          <a:p>
            <a:r>
              <a:rPr lang="en-US" sz="1600" dirty="0">
                <a:solidFill>
                  <a:srgbClr val="172B4D"/>
                </a:solidFill>
              </a:rPr>
              <a:t>Customer is physically at the dealership in the reach of F&amp;I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600" dirty="0">
                <a:solidFill>
                  <a:srgbClr val="172B4D"/>
                </a:solidFill>
              </a:rPr>
              <a:t>Customer is physically at the dealership in the reach of F&amp;I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User accepted location based services and GPS is usable and activated</a:t>
            </a:r>
            <a:endParaRPr lang="en-US" sz="1600" dirty="0">
              <a:latin typeface="+mj-lt"/>
            </a:endParaRPr>
          </a:p>
          <a:p>
            <a:pPr marL="0" lvl="0" indent="0">
              <a:buNone/>
            </a:pPr>
            <a:r>
              <a:rPr lang="en-US" sz="1600" u="sng" dirty="0">
                <a:solidFill>
                  <a:srgbClr val="00B0F0"/>
                </a:solidFill>
                <a:latin typeface="+mj-lt"/>
              </a:rPr>
              <a:t>Acceptance Criteria: 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User clicks on the on the LBS icon, city and dealer are prefilled based on the GPS location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User can overwrite the prefilled information by clicking and selecting from the dropdown list</a:t>
            </a:r>
            <a:endParaRPr lang="en-US" sz="1600" dirty="0">
              <a:solidFill>
                <a:srgbClr val="172B4D"/>
              </a:solidFill>
            </a:endParaRPr>
          </a:p>
          <a:p>
            <a:pPr marL="342900" lvl="0" indent="-342900">
              <a:buAutoNum type="arabicPeriod"/>
            </a:pP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0794127" y="1048658"/>
            <a:ext cx="1229710" cy="38888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Legal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0794127" y="152975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</a:p>
        </p:txBody>
      </p:sp>
      <p:sp>
        <p:nvSpPr>
          <p:cNvPr id="16" name="Oval 15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10268610" y="1048658"/>
            <a:ext cx="399393" cy="388881"/>
          </a:xfrm>
          <a:prstGeom prst="ellipse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10268610" y="152975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0794127" y="201085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mpliance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10268610" y="201085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0238949" y="86098"/>
            <a:ext cx="1784888" cy="371274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OWNER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:  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PO (BA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)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0794127" y="2491952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ecurity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10268610" y="2491953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2412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/>
              <a:t>ES-S 006</a:t>
            </a:r>
            <a:br>
              <a:rPr lang="en-US" dirty="0"/>
            </a:br>
            <a:r>
              <a:rPr lang="en-US" dirty="0"/>
              <a:t>LBS Dealership selection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sp>
        <p:nvSpPr>
          <p:cNvPr id="20" name="Freeform 19"/>
          <p:cNvSpPr/>
          <p:nvPr/>
        </p:nvSpPr>
        <p:spPr>
          <a:xfrm>
            <a:off x="7399721" y="2356481"/>
            <a:ext cx="1272245" cy="1101904"/>
          </a:xfrm>
          <a:custGeom>
            <a:avLst/>
            <a:gdLst>
              <a:gd name="connsiteX0" fmla="*/ 0 w 1272245"/>
              <a:gd name="connsiteY0" fmla="*/ 0 h 1101904"/>
              <a:gd name="connsiteX1" fmla="*/ 1272245 w 1272245"/>
              <a:gd name="connsiteY1" fmla="*/ 0 h 1101904"/>
              <a:gd name="connsiteX2" fmla="*/ 1272245 w 1272245"/>
              <a:gd name="connsiteY2" fmla="*/ 1101904 h 1101904"/>
              <a:gd name="connsiteX3" fmla="*/ 0 w 1272245"/>
              <a:gd name="connsiteY3" fmla="*/ 1101904 h 1101904"/>
              <a:gd name="connsiteX4" fmla="*/ 0 w 1272245"/>
              <a:gd name="connsiteY4" fmla="*/ 0 h 1101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2245" h="1101904">
                <a:moveTo>
                  <a:pt x="0" y="0"/>
                </a:moveTo>
                <a:lnTo>
                  <a:pt x="1272245" y="0"/>
                </a:lnTo>
                <a:lnTo>
                  <a:pt x="1272245" y="1101904"/>
                </a:lnTo>
                <a:lnTo>
                  <a:pt x="0" y="110190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0480" tIns="30480" rIns="30480" bIns="30480" numCol="1" spcCol="1270" anchor="t" anchorCtr="0">
            <a:noAutofit/>
          </a:bodyPr>
          <a:lstStyle/>
          <a:p>
            <a:pPr lvl="0" algn="l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200" kern="1200" dirty="0"/>
          </a:p>
        </p:txBody>
      </p:sp>
      <p:sp>
        <p:nvSpPr>
          <p:cNvPr id="21" name="Freeform 20"/>
          <p:cNvSpPr/>
          <p:nvPr/>
        </p:nvSpPr>
        <p:spPr>
          <a:xfrm>
            <a:off x="7427265" y="1949185"/>
            <a:ext cx="2386570" cy="1232166"/>
          </a:xfrm>
          <a:custGeom>
            <a:avLst/>
            <a:gdLst>
              <a:gd name="connsiteX0" fmla="*/ 0 w 1272245"/>
              <a:gd name="connsiteY0" fmla="*/ 0 h 430054"/>
              <a:gd name="connsiteX1" fmla="*/ 1272245 w 1272245"/>
              <a:gd name="connsiteY1" fmla="*/ 0 h 430054"/>
              <a:gd name="connsiteX2" fmla="*/ 1272245 w 1272245"/>
              <a:gd name="connsiteY2" fmla="*/ 430054 h 430054"/>
              <a:gd name="connsiteX3" fmla="*/ 0 w 1272245"/>
              <a:gd name="connsiteY3" fmla="*/ 430054 h 430054"/>
              <a:gd name="connsiteX4" fmla="*/ 0 w 1272245"/>
              <a:gd name="connsiteY4" fmla="*/ 0 h 430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2245" h="430054">
                <a:moveTo>
                  <a:pt x="0" y="0"/>
                </a:moveTo>
                <a:lnTo>
                  <a:pt x="1272245" y="0"/>
                </a:lnTo>
                <a:lnTo>
                  <a:pt x="1272245" y="430054"/>
                </a:lnTo>
                <a:lnTo>
                  <a:pt x="0" y="43005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0640" tIns="40640" rIns="40640" bIns="40640" numCol="1" spcCol="1270" anchor="b" anchorCtr="0">
            <a:noAutofit/>
          </a:bodyPr>
          <a:lstStyle/>
          <a:p>
            <a:pPr lvl="0" algn="l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kern="1200" dirty="0" smtClean="0"/>
              <a:t>Select Dealer by location based service. Prefill of: </a:t>
            </a:r>
          </a:p>
          <a:p>
            <a:pPr lvl="0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dirty="0"/>
              <a:t>- Province / City</a:t>
            </a:r>
          </a:p>
          <a:p>
            <a:pPr lvl="0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altLang="zh-CN" sz="1600" dirty="0"/>
              <a:t>- </a:t>
            </a:r>
            <a:r>
              <a:rPr lang="en-US" altLang="zh-CN" sz="1600" dirty="0" smtClean="0"/>
              <a:t>Dealer</a:t>
            </a:r>
            <a:endParaRPr lang="en-US" sz="1600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6051" y="1610184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4" name="Rectangle 13"/>
          <p:cNvSpPr/>
          <p:nvPr/>
        </p:nvSpPr>
        <p:spPr>
          <a:xfrm>
            <a:off x="4806051" y="2448673"/>
            <a:ext cx="2579898" cy="1009712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5118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/>
              <a:t>ES-S 006</a:t>
            </a:r>
            <a:br>
              <a:rPr lang="en-US" dirty="0"/>
            </a:br>
            <a:r>
              <a:rPr lang="en-US" dirty="0"/>
              <a:t>LBS Dealership selection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Wireframes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5998978" y="1412874"/>
            <a:ext cx="5714656" cy="5158123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24220" y="1412875"/>
            <a:ext cx="2819930" cy="5158123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6831" y="1532623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948" y="1532623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0350" y="1535797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3" name="Oval 12"/>
          <p:cNvSpPr/>
          <p:nvPr/>
        </p:nvSpPr>
        <p:spPr>
          <a:xfrm>
            <a:off x="1552575" y="5400675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" name="Oval 13"/>
          <p:cNvSpPr/>
          <p:nvPr/>
        </p:nvSpPr>
        <p:spPr>
          <a:xfrm>
            <a:off x="1628774" y="5476874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3266681" y="2301875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3342880" y="2378074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Oval 18"/>
          <p:cNvSpPr/>
          <p:nvPr/>
        </p:nvSpPr>
        <p:spPr>
          <a:xfrm>
            <a:off x="4357251" y="5430839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4433450" y="5507038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Oval 20"/>
          <p:cNvSpPr/>
          <p:nvPr/>
        </p:nvSpPr>
        <p:spPr>
          <a:xfrm>
            <a:off x="8083886" y="3916364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8160085" y="3992563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6998417" y="4602164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4" name="Oval 23"/>
          <p:cNvSpPr/>
          <p:nvPr/>
        </p:nvSpPr>
        <p:spPr>
          <a:xfrm>
            <a:off x="7074616" y="4678363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5" name="Oval 24"/>
          <p:cNvSpPr/>
          <p:nvPr/>
        </p:nvSpPr>
        <p:spPr>
          <a:xfrm>
            <a:off x="8180004" y="4602164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6" name="Oval 25"/>
          <p:cNvSpPr/>
          <p:nvPr/>
        </p:nvSpPr>
        <p:spPr>
          <a:xfrm>
            <a:off x="8256203" y="4678363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7" name="Oval 26"/>
          <p:cNvSpPr/>
          <p:nvPr/>
        </p:nvSpPr>
        <p:spPr>
          <a:xfrm>
            <a:off x="7174628" y="5415982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8" name="Oval 27"/>
          <p:cNvSpPr/>
          <p:nvPr/>
        </p:nvSpPr>
        <p:spPr>
          <a:xfrm>
            <a:off x="7250827" y="5492181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9" name="Oval 28"/>
          <p:cNvSpPr/>
          <p:nvPr/>
        </p:nvSpPr>
        <p:spPr>
          <a:xfrm>
            <a:off x="6066831" y="3840163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0" name="Oval 29"/>
          <p:cNvSpPr/>
          <p:nvPr/>
        </p:nvSpPr>
        <p:spPr>
          <a:xfrm>
            <a:off x="6143030" y="3916362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31" name="Picture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1697" y="1532623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32" name="Picture 3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440" b="16655"/>
          <a:stretch/>
        </p:blipFill>
        <p:spPr>
          <a:xfrm>
            <a:off x="8829745" y="2258560"/>
            <a:ext cx="2554696" cy="1785257"/>
          </a:xfrm>
          <a:prstGeom prst="rect">
            <a:avLst/>
          </a:prstGeom>
          <a:ln>
            <a:noFill/>
          </a:ln>
        </p:spPr>
      </p:pic>
      <p:sp>
        <p:nvSpPr>
          <p:cNvPr id="33" name="Rectangle 32"/>
          <p:cNvSpPr/>
          <p:nvPr/>
        </p:nvSpPr>
        <p:spPr>
          <a:xfrm>
            <a:off x="10907618" y="2544762"/>
            <a:ext cx="493977" cy="49530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8845974" y="2544762"/>
            <a:ext cx="493977" cy="4191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8839152" y="4043817"/>
            <a:ext cx="2545289" cy="135685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8897380" y="3340099"/>
            <a:ext cx="2444627" cy="37964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8856306" y="4128403"/>
            <a:ext cx="2444627" cy="37964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Negotiated </a:t>
            </a: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Transaction Price</a:t>
            </a:r>
          </a:p>
        </p:txBody>
      </p:sp>
      <p:sp>
        <p:nvSpPr>
          <p:cNvPr id="38" name="Rectangle 37"/>
          <p:cNvSpPr/>
          <p:nvPr/>
        </p:nvSpPr>
        <p:spPr>
          <a:xfrm>
            <a:off x="9092962" y="4420054"/>
            <a:ext cx="1924226" cy="329065"/>
          </a:xfrm>
          <a:prstGeom prst="rect">
            <a:avLst/>
          </a:prstGeom>
          <a:solidFill>
            <a:schemeClr val="bg1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$ 250,  000</a:t>
            </a:r>
          </a:p>
        </p:txBody>
      </p:sp>
      <p:sp>
        <p:nvSpPr>
          <p:cNvPr id="39" name="Oval 38"/>
          <p:cNvSpPr/>
          <p:nvPr/>
        </p:nvSpPr>
        <p:spPr>
          <a:xfrm>
            <a:off x="10358070" y="4313924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0" name="Oval 39"/>
          <p:cNvSpPr/>
          <p:nvPr/>
        </p:nvSpPr>
        <p:spPr>
          <a:xfrm>
            <a:off x="10434269" y="4390123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1" name="Oval 40"/>
          <p:cNvSpPr/>
          <p:nvPr/>
        </p:nvSpPr>
        <p:spPr>
          <a:xfrm>
            <a:off x="9791080" y="5400675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2" name="Oval 41"/>
          <p:cNvSpPr/>
          <p:nvPr/>
        </p:nvSpPr>
        <p:spPr>
          <a:xfrm>
            <a:off x="9867279" y="5476874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8897380" y="4875898"/>
            <a:ext cx="2403553" cy="466906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Disclaimer</a:t>
            </a:r>
          </a:p>
        </p:txBody>
      </p:sp>
    </p:spTree>
    <p:extLst>
      <p:ext uri="{BB962C8B-B14F-4D97-AF65-F5344CB8AC3E}">
        <p14:creationId xmlns:p14="http://schemas.microsoft.com/office/powerpoint/2010/main" val="2138469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/>
              <a:t>ES-S 006</a:t>
            </a:r>
            <a:br>
              <a:rPr lang="en-US" dirty="0"/>
            </a:br>
            <a:r>
              <a:rPr lang="en-US" dirty="0"/>
              <a:t>LBS Dealership selection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Process Flow: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1304155" y="2172128"/>
            <a:ext cx="1114097" cy="3756484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Easy Finance AP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Registration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Process</a:t>
            </a:r>
            <a:endParaRPr lang="en-US" sz="14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2441112" y="306386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2418252" y="517827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8984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/>
              <a:t>ES-S 006</a:t>
            </a:r>
            <a:br>
              <a:rPr lang="en-US" dirty="0"/>
            </a:br>
            <a:r>
              <a:rPr lang="en-US" dirty="0"/>
              <a:t>LBS Dealership sel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  <a:ln w="3175">
            <a:solidFill>
              <a:schemeClr val="tx1"/>
            </a:solidFill>
          </a:ln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Sequence Flow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786630" y="1619829"/>
            <a:ext cx="1397876" cy="420414"/>
          </a:xfrm>
          <a:prstGeom prst="rect">
            <a:avLst/>
          </a:prstGeom>
          <a:solidFill>
            <a:srgbClr val="B1C3B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140730" y="1619829"/>
            <a:ext cx="1397876" cy="420414"/>
          </a:xfrm>
          <a:prstGeom prst="rect">
            <a:avLst/>
          </a:prstGeom>
          <a:solidFill>
            <a:srgbClr val="B2CA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494830" y="1619829"/>
            <a:ext cx="1397876" cy="420414"/>
          </a:xfrm>
          <a:prstGeom prst="rect">
            <a:avLst/>
          </a:prstGeom>
          <a:solidFill>
            <a:srgbClr val="DF9A9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848930" y="1619829"/>
            <a:ext cx="1397876" cy="420414"/>
          </a:xfrm>
          <a:prstGeom prst="rect">
            <a:avLst/>
          </a:prstGeom>
          <a:solidFill>
            <a:srgbClr val="FFC299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045880" y="1619829"/>
            <a:ext cx="1397876" cy="420414"/>
          </a:xfrm>
          <a:prstGeom prst="rect">
            <a:avLst/>
          </a:prstGeom>
          <a:solidFill>
            <a:srgbClr val="FEE372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>
            <a:stCxn id="6" idx="2"/>
          </p:cNvCxnSpPr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62382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 smtClean="0"/>
              <a:t>ES-S 001: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sz="1600" dirty="0"/>
              <a:t>As a user I want to select the vehicle so that I can start the finance application process</a:t>
            </a:r>
          </a:p>
          <a:p>
            <a:pPr marL="0" indent="0">
              <a:buNone/>
            </a:pPr>
            <a:r>
              <a:rPr lang="en-US" sz="1400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sz="14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400" dirty="0">
                <a:solidFill>
                  <a:srgbClr val="172B4D"/>
                </a:solidFill>
              </a:rPr>
              <a:t>The vehicle is already chosen and no pipeline check necessary</a:t>
            </a:r>
          </a:p>
          <a:p>
            <a:r>
              <a:rPr lang="en-US" sz="1400" dirty="0">
                <a:solidFill>
                  <a:srgbClr val="172B4D"/>
                </a:solidFill>
              </a:rPr>
              <a:t>The dealership is already selected (ES-S 004 / ES-S 006)</a:t>
            </a:r>
          </a:p>
          <a:p>
            <a:r>
              <a:rPr lang="en-US" sz="1400" dirty="0">
                <a:solidFill>
                  <a:srgbClr val="172B4D"/>
                </a:solidFill>
              </a:rPr>
              <a:t>The</a:t>
            </a:r>
            <a:r>
              <a:rPr lang="en-US" sz="1400" dirty="0" smtClean="0">
                <a:solidFill>
                  <a:srgbClr val="172B4D"/>
                </a:solidFill>
                <a:latin typeface="+mj-lt"/>
              </a:rPr>
              <a:t> transaction price is already negotiated offline between user and sales manager</a:t>
            </a:r>
          </a:p>
          <a:p>
            <a:r>
              <a:rPr lang="en-US" sz="1400" dirty="0">
                <a:solidFill>
                  <a:srgbClr val="172B4D"/>
                </a:solidFill>
              </a:rPr>
              <a:t>Customer Successfully registered or used existing GCDM/BMW Account to login to BMW Easy Finance APP.</a:t>
            </a:r>
          </a:p>
          <a:p>
            <a:r>
              <a:rPr lang="en-US" sz="1400" dirty="0">
                <a:solidFill>
                  <a:srgbClr val="172B4D"/>
                </a:solidFill>
              </a:rPr>
              <a:t>Customer Successfully Redirected himself to Product Selection page upon using User friendly App’s Navigation </a:t>
            </a:r>
            <a:endParaRPr lang="en-US" sz="1400" dirty="0" smtClean="0">
              <a:solidFill>
                <a:srgbClr val="172B4D"/>
              </a:solidFill>
            </a:endParaRPr>
          </a:p>
          <a:p>
            <a:r>
              <a:rPr lang="en-US" sz="1400" dirty="0">
                <a:solidFill>
                  <a:srgbClr val="172B4D"/>
                </a:solidFill>
              </a:rPr>
              <a:t>Customer is physically at the dealership in the reach of F&amp;I</a:t>
            </a:r>
          </a:p>
          <a:p>
            <a:pPr marL="0" indent="0">
              <a:buNone/>
            </a:pPr>
            <a:r>
              <a:rPr lang="en-US" sz="1400" u="sng" dirty="0" smtClean="0">
                <a:solidFill>
                  <a:srgbClr val="00B0F0"/>
                </a:solidFill>
                <a:latin typeface="+mj-lt"/>
              </a:rPr>
              <a:t>Pre-Conditions: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400" dirty="0">
                <a:solidFill>
                  <a:srgbClr val="172B4D"/>
                </a:solidFill>
              </a:rPr>
              <a:t> Customer should be allowed to </a:t>
            </a:r>
            <a:r>
              <a:rPr lang="en-US" sz="1400" dirty="0" smtClean="0">
                <a:solidFill>
                  <a:srgbClr val="172B4D"/>
                </a:solidFill>
              </a:rPr>
              <a:t>filter </a:t>
            </a:r>
            <a:r>
              <a:rPr lang="en-US" sz="1400" dirty="0">
                <a:solidFill>
                  <a:srgbClr val="172B4D"/>
                </a:solidFill>
              </a:rPr>
              <a:t>BMW Vehicle from various filter parameters.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400" dirty="0">
                <a:solidFill>
                  <a:srgbClr val="172B4D"/>
                </a:solidFill>
              </a:rPr>
              <a:t> Most up to date </a:t>
            </a:r>
            <a:r>
              <a:rPr lang="en-US" sz="1400" dirty="0" smtClean="0">
                <a:solidFill>
                  <a:srgbClr val="172B4D"/>
                </a:solidFill>
              </a:rPr>
              <a:t>vehicle product </a:t>
            </a:r>
            <a:r>
              <a:rPr lang="en-US" sz="1400" dirty="0">
                <a:solidFill>
                  <a:srgbClr val="172B4D"/>
                </a:solidFill>
              </a:rPr>
              <a:t>information is available for customer to choose. </a:t>
            </a:r>
          </a:p>
          <a:p>
            <a:pPr marL="0" lvl="0" indent="0">
              <a:buNone/>
            </a:pPr>
            <a:r>
              <a:rPr lang="en-US" sz="1400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sz="1400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pPr marL="342900" lvl="0" indent="-342900">
              <a:buAutoNum type="arabicPeriod"/>
            </a:pPr>
            <a:r>
              <a:rPr lang="en-US" sz="1400" dirty="0" smtClean="0">
                <a:solidFill>
                  <a:srgbClr val="172B4D"/>
                </a:solidFill>
                <a:latin typeface="+mj-lt"/>
              </a:rPr>
              <a:t>The user selected the Brand BMW / MINI and the CI is changing to either BMW or MINI respectively.</a:t>
            </a:r>
          </a:p>
          <a:p>
            <a:pPr marL="342900" lvl="0" indent="-342900">
              <a:buAutoNum type="arabicPeriod"/>
            </a:pPr>
            <a:r>
              <a:rPr lang="en-US" sz="1400" dirty="0">
                <a:solidFill>
                  <a:srgbClr val="172B4D"/>
                </a:solidFill>
              </a:rPr>
              <a:t>The </a:t>
            </a:r>
            <a:r>
              <a:rPr lang="en-US" sz="1400" dirty="0" smtClean="0">
                <a:solidFill>
                  <a:srgbClr val="172B4D"/>
                </a:solidFill>
              </a:rPr>
              <a:t>user selected </a:t>
            </a:r>
            <a:r>
              <a:rPr lang="en-US" sz="1400" dirty="0">
                <a:solidFill>
                  <a:srgbClr val="172B4D"/>
                </a:solidFill>
              </a:rPr>
              <a:t>the </a:t>
            </a:r>
            <a:r>
              <a:rPr lang="en-US" sz="1400" dirty="0" smtClean="0">
                <a:solidFill>
                  <a:srgbClr val="172B4D"/>
                </a:solidFill>
              </a:rPr>
              <a:t>vehicle series by </a:t>
            </a:r>
            <a:r>
              <a:rPr lang="en-US" sz="1400" dirty="0">
                <a:solidFill>
                  <a:srgbClr val="172B4D"/>
                </a:solidFill>
              </a:rPr>
              <a:t>clicking / </a:t>
            </a:r>
            <a:r>
              <a:rPr lang="en-US" sz="1400" dirty="0" smtClean="0">
                <a:solidFill>
                  <a:srgbClr val="172B4D"/>
                </a:solidFill>
              </a:rPr>
              <a:t>swiping. A picture of the respective series is displayed.</a:t>
            </a:r>
            <a:endParaRPr lang="en-US" sz="1400" dirty="0">
              <a:solidFill>
                <a:srgbClr val="172B4D"/>
              </a:solidFill>
            </a:endParaRPr>
          </a:p>
          <a:p>
            <a:pPr marL="342900" lvl="0" indent="-342900">
              <a:buAutoNum type="arabicPeriod"/>
            </a:pPr>
            <a:r>
              <a:rPr lang="en-US" sz="1400" dirty="0">
                <a:solidFill>
                  <a:srgbClr val="172B4D"/>
                </a:solidFill>
              </a:rPr>
              <a:t>The user </a:t>
            </a:r>
            <a:r>
              <a:rPr lang="en-US" sz="1400" dirty="0" smtClean="0">
                <a:solidFill>
                  <a:srgbClr val="172B4D"/>
                </a:solidFill>
              </a:rPr>
              <a:t>selected </a:t>
            </a:r>
            <a:r>
              <a:rPr lang="en-US" sz="1400" dirty="0">
                <a:solidFill>
                  <a:srgbClr val="172B4D"/>
                </a:solidFill>
              </a:rPr>
              <a:t>the </a:t>
            </a:r>
            <a:r>
              <a:rPr lang="en-US" sz="1400" dirty="0" smtClean="0">
                <a:solidFill>
                  <a:srgbClr val="172B4D"/>
                </a:solidFill>
              </a:rPr>
              <a:t>vehicle model (drop down)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400" dirty="0" smtClean="0">
                <a:solidFill>
                  <a:srgbClr val="172B4D"/>
                </a:solidFill>
              </a:rPr>
              <a:t> </a:t>
            </a:r>
            <a:r>
              <a:rPr lang="en-US" sz="1400" dirty="0">
                <a:solidFill>
                  <a:srgbClr val="172B4D"/>
                </a:solidFill>
              </a:rPr>
              <a:t>The user selected the vehicle </a:t>
            </a:r>
            <a:r>
              <a:rPr lang="en-US" sz="1400" dirty="0" smtClean="0">
                <a:solidFill>
                  <a:srgbClr val="172B4D"/>
                </a:solidFill>
              </a:rPr>
              <a:t>package (drop </a:t>
            </a:r>
            <a:r>
              <a:rPr lang="en-US" sz="1400" dirty="0">
                <a:solidFill>
                  <a:srgbClr val="172B4D"/>
                </a:solidFill>
              </a:rPr>
              <a:t>down</a:t>
            </a:r>
            <a:r>
              <a:rPr lang="en-US" sz="1400" dirty="0" smtClean="0">
                <a:solidFill>
                  <a:srgbClr val="172B4D"/>
                </a:solidFill>
              </a:rPr>
              <a:t>)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400" dirty="0" smtClean="0">
                <a:solidFill>
                  <a:srgbClr val="172B4D"/>
                </a:solidFill>
              </a:rPr>
              <a:t>The MSRP of the selected vehicle series, model &amp; package is displayed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400" dirty="0" smtClean="0">
                <a:solidFill>
                  <a:srgbClr val="172B4D"/>
                </a:solidFill>
              </a:rPr>
              <a:t>As a </a:t>
            </a:r>
            <a:r>
              <a:rPr lang="en-US" sz="1400" dirty="0">
                <a:solidFill>
                  <a:srgbClr val="172B4D"/>
                </a:solidFill>
              </a:rPr>
              <a:t>user I get a disclaimer displayed that this is not the actual vehicle and it might be not available, the purpose of the vehicle choosing is to start the application 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400" dirty="0">
                <a:solidFill>
                  <a:srgbClr val="172B4D"/>
                </a:solidFill>
              </a:rPr>
              <a:t>Once the car is selected the user can click next and enters </a:t>
            </a:r>
            <a:r>
              <a:rPr lang="en-US" sz="1400" dirty="0" smtClean="0">
                <a:solidFill>
                  <a:srgbClr val="172B4D"/>
                </a:solidFill>
              </a:rPr>
              <a:t>“transaction price confirmation price page” </a:t>
            </a:r>
            <a:r>
              <a:rPr lang="en-US" sz="140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sz="1400" dirty="0"/>
              <a:t>ES-S 005 </a:t>
            </a:r>
            <a:endParaRPr lang="en-US" sz="1400" dirty="0" smtClean="0"/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400" dirty="0" smtClean="0">
                <a:solidFill>
                  <a:srgbClr val="172B4D"/>
                </a:solidFill>
              </a:rPr>
              <a:t>The </a:t>
            </a:r>
            <a:r>
              <a:rPr lang="en-US" sz="1400" dirty="0">
                <a:solidFill>
                  <a:srgbClr val="172B4D"/>
                </a:solidFill>
              </a:rPr>
              <a:t>user can click back button and enters landing page</a:t>
            </a:r>
          </a:p>
          <a:p>
            <a:pPr marL="342900" lvl="0" indent="-342900">
              <a:buAutoNum type="arabicPeriod"/>
            </a:pPr>
            <a:endParaRPr lang="en-US" sz="14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sz="1600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sz="1600" dirty="0"/>
          </a:p>
          <a:p>
            <a:endParaRPr lang="en-US" sz="1600" dirty="0"/>
          </a:p>
        </p:txBody>
      </p:sp>
      <p:sp>
        <p:nvSpPr>
          <p:cNvPr id="4" name="Rectangle 3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0794127" y="1048658"/>
            <a:ext cx="1229710" cy="38888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Legal</a:t>
            </a:r>
          </a:p>
        </p:txBody>
      </p:sp>
      <p:sp>
        <p:nvSpPr>
          <p:cNvPr id="7" name="Rectangle 6"/>
          <p:cNvSpPr/>
          <p:nvPr/>
        </p:nvSpPr>
        <p:spPr>
          <a:xfrm>
            <a:off x="10794127" y="152975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</a:p>
        </p:txBody>
      </p:sp>
      <p:sp>
        <p:nvSpPr>
          <p:cNvPr id="8" name="Oval 7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" name="Oval 8"/>
          <p:cNvSpPr/>
          <p:nvPr/>
        </p:nvSpPr>
        <p:spPr>
          <a:xfrm>
            <a:off x="10268610" y="1048658"/>
            <a:ext cx="399393" cy="388881"/>
          </a:xfrm>
          <a:prstGeom prst="ellipse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Oval 9"/>
          <p:cNvSpPr/>
          <p:nvPr/>
        </p:nvSpPr>
        <p:spPr>
          <a:xfrm>
            <a:off x="10268610" y="152975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794127" y="201085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mpliance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" name="Oval 11"/>
          <p:cNvSpPr/>
          <p:nvPr/>
        </p:nvSpPr>
        <p:spPr>
          <a:xfrm>
            <a:off x="10268610" y="201085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0238949" y="86098"/>
            <a:ext cx="1784888" cy="371274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OWNER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:  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PO (BA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)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0794127" y="2491952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ecurity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10268610" y="2491953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2923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 smtClean="0"/>
              <a:t>ES-S 001</a:t>
            </a:r>
            <a:br>
              <a:rPr lang="en-US" dirty="0" smtClean="0"/>
            </a:br>
            <a:r>
              <a:rPr lang="en-US" dirty="0" smtClean="0"/>
              <a:t>Vehicle Selection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sp>
        <p:nvSpPr>
          <p:cNvPr id="45" name="Content Placeholder 2"/>
          <p:cNvSpPr txBox="1">
            <a:spLocks/>
          </p:cNvSpPr>
          <p:nvPr/>
        </p:nvSpPr>
        <p:spPr>
          <a:xfrm>
            <a:off x="6330644" y="2773114"/>
            <a:ext cx="2298052" cy="104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6213" indent="-176213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1600" dirty="0" smtClean="0"/>
              <a:t>Vehicle selection for customer should be easy, only include series, model, packages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600" dirty="0" smtClean="0"/>
              <a:t>vehicle picture to show with series selection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600" dirty="0" smtClean="0"/>
              <a:t>Languages in Chinese and English.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600" dirty="0" smtClean="0"/>
              <a:t>BMW and MINI CI</a:t>
            </a:r>
            <a:endParaRPr lang="en-US" sz="16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8984" y="1535797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5" name="Rectangle 4"/>
          <p:cNvSpPr/>
          <p:nvPr/>
        </p:nvSpPr>
        <p:spPr>
          <a:xfrm>
            <a:off x="697426" y="1526796"/>
            <a:ext cx="2603081" cy="4594605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9119019" y="1526795"/>
            <a:ext cx="2603081" cy="4594605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Vehicle</a:t>
            </a:r>
            <a:r>
              <a:rPr lang="en-US" sz="18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Series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Model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</a:t>
            </a:r>
            <a:endParaRPr lang="en-US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ackage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7075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>
          <a:xfrm>
            <a:off x="8761028" y="1412874"/>
            <a:ext cx="2952605" cy="5158123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24219" y="1412875"/>
            <a:ext cx="5639815" cy="5158123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 smtClean="0"/>
              <a:t>ES-S </a:t>
            </a:r>
            <a:r>
              <a:rPr lang="en-US" dirty="0"/>
              <a:t>001</a:t>
            </a:r>
            <a:br>
              <a:rPr lang="en-US" dirty="0"/>
            </a:br>
            <a:r>
              <a:rPr lang="en-US" dirty="0"/>
              <a:t>Vehicle Sel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Wireframes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6831" y="1532623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948" y="1532623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0350" y="1535797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3" name="Oval 12"/>
          <p:cNvSpPr/>
          <p:nvPr/>
        </p:nvSpPr>
        <p:spPr>
          <a:xfrm>
            <a:off x="1552575" y="5400675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" name="Oval 13"/>
          <p:cNvSpPr/>
          <p:nvPr/>
        </p:nvSpPr>
        <p:spPr>
          <a:xfrm>
            <a:off x="1628774" y="5476874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5266890" y="2344738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5343089" y="2420937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4181040" y="2930525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4257239" y="3006724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Oval 18"/>
          <p:cNvSpPr/>
          <p:nvPr/>
        </p:nvSpPr>
        <p:spPr>
          <a:xfrm>
            <a:off x="4357251" y="5430839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4433450" y="5507038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Oval 20"/>
          <p:cNvSpPr/>
          <p:nvPr/>
        </p:nvSpPr>
        <p:spPr>
          <a:xfrm>
            <a:off x="8083886" y="3916364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8160085" y="3992563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6" name="Oval 25"/>
          <p:cNvSpPr/>
          <p:nvPr/>
        </p:nvSpPr>
        <p:spPr>
          <a:xfrm>
            <a:off x="6998417" y="4602164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7" name="Oval 26"/>
          <p:cNvSpPr/>
          <p:nvPr/>
        </p:nvSpPr>
        <p:spPr>
          <a:xfrm>
            <a:off x="7074616" y="4678363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8" name="Oval 27"/>
          <p:cNvSpPr/>
          <p:nvPr/>
        </p:nvSpPr>
        <p:spPr>
          <a:xfrm>
            <a:off x="8180004" y="4602164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9" name="Oval 28"/>
          <p:cNvSpPr/>
          <p:nvPr/>
        </p:nvSpPr>
        <p:spPr>
          <a:xfrm>
            <a:off x="8256203" y="4678363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0" name="Oval 29"/>
          <p:cNvSpPr/>
          <p:nvPr/>
        </p:nvSpPr>
        <p:spPr>
          <a:xfrm>
            <a:off x="7174628" y="5415982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1" name="Oval 30"/>
          <p:cNvSpPr/>
          <p:nvPr/>
        </p:nvSpPr>
        <p:spPr>
          <a:xfrm>
            <a:off x="7250827" y="5492181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2" name="Oval 31"/>
          <p:cNvSpPr/>
          <p:nvPr/>
        </p:nvSpPr>
        <p:spPr>
          <a:xfrm>
            <a:off x="6066831" y="3840163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3" name="Oval 32"/>
          <p:cNvSpPr/>
          <p:nvPr/>
        </p:nvSpPr>
        <p:spPr>
          <a:xfrm>
            <a:off x="6143030" y="3916362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1697" y="1532623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36" name="Picture 3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440" b="16655"/>
          <a:stretch/>
        </p:blipFill>
        <p:spPr>
          <a:xfrm>
            <a:off x="8829745" y="2258560"/>
            <a:ext cx="2554696" cy="1785257"/>
          </a:xfrm>
          <a:prstGeom prst="rect">
            <a:avLst/>
          </a:prstGeom>
          <a:ln>
            <a:noFill/>
          </a:ln>
        </p:spPr>
      </p:pic>
      <p:sp>
        <p:nvSpPr>
          <p:cNvPr id="37" name="Rectangle 36"/>
          <p:cNvSpPr/>
          <p:nvPr/>
        </p:nvSpPr>
        <p:spPr>
          <a:xfrm>
            <a:off x="10907618" y="2544762"/>
            <a:ext cx="493977" cy="49530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8845974" y="2544762"/>
            <a:ext cx="493977" cy="4191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8839152" y="4043817"/>
            <a:ext cx="2545289" cy="135685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8897380" y="3340099"/>
            <a:ext cx="2444627" cy="37964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8856306" y="4128403"/>
            <a:ext cx="2444627" cy="37964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Negotiated </a:t>
            </a: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Transaction Price</a:t>
            </a:r>
          </a:p>
        </p:txBody>
      </p:sp>
      <p:sp>
        <p:nvSpPr>
          <p:cNvPr id="42" name="Rectangle 41"/>
          <p:cNvSpPr/>
          <p:nvPr/>
        </p:nvSpPr>
        <p:spPr>
          <a:xfrm>
            <a:off x="9092962" y="4420054"/>
            <a:ext cx="1924226" cy="329065"/>
          </a:xfrm>
          <a:prstGeom prst="rect">
            <a:avLst/>
          </a:prstGeom>
          <a:solidFill>
            <a:schemeClr val="bg1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$ 250,  000</a:t>
            </a:r>
          </a:p>
        </p:txBody>
      </p:sp>
      <p:sp>
        <p:nvSpPr>
          <p:cNvPr id="43" name="Oval 42"/>
          <p:cNvSpPr/>
          <p:nvPr/>
        </p:nvSpPr>
        <p:spPr>
          <a:xfrm>
            <a:off x="10358070" y="4313924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4" name="Oval 43"/>
          <p:cNvSpPr/>
          <p:nvPr/>
        </p:nvSpPr>
        <p:spPr>
          <a:xfrm>
            <a:off x="10434269" y="4390123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8917916" y="4862482"/>
            <a:ext cx="2403553" cy="466906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Disclaimer</a:t>
            </a:r>
          </a:p>
        </p:txBody>
      </p:sp>
    </p:spTree>
    <p:extLst>
      <p:ext uri="{BB962C8B-B14F-4D97-AF65-F5344CB8AC3E}">
        <p14:creationId xmlns:p14="http://schemas.microsoft.com/office/powerpoint/2010/main" val="538603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 smtClean="0"/>
              <a:t>ES-S </a:t>
            </a:r>
            <a:r>
              <a:rPr lang="en-US" dirty="0"/>
              <a:t>001</a:t>
            </a:r>
            <a:br>
              <a:rPr lang="en-US" dirty="0"/>
            </a:br>
            <a:r>
              <a:rPr lang="en-US" dirty="0"/>
              <a:t>Vehicle Sel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Process Flow: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1304155" y="2172128"/>
            <a:ext cx="1114097" cy="3873668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Easy Finance AP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Vehicle</a:t>
            </a:r>
            <a:r>
              <a:rPr lang="en-US" sz="1400" b="0" i="0" u="none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 Selection Process</a:t>
            </a:r>
            <a:endParaRPr lang="en-US" sz="14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2441112" y="306386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8" name="Rounded Rectangle 7"/>
          <p:cNvSpPr/>
          <p:nvPr/>
        </p:nvSpPr>
        <p:spPr>
          <a:xfrm>
            <a:off x="3150252" y="2247629"/>
            <a:ext cx="1114097" cy="1181371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User: Main Applicant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3173112" y="4864425"/>
            <a:ext cx="1114097" cy="1181371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User: F&amp;I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3173112" y="3556027"/>
            <a:ext cx="1114097" cy="1181371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User: Co-Borrower /Guarantor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585845" y="2247629"/>
            <a:ext cx="1114097" cy="3798167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3009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 smtClean="0"/>
              <a:t>ES-S </a:t>
            </a:r>
            <a:r>
              <a:rPr lang="en-US" dirty="0"/>
              <a:t>001</a:t>
            </a:r>
            <a:br>
              <a:rPr lang="en-US" dirty="0"/>
            </a:br>
            <a:r>
              <a:rPr lang="en-US" dirty="0"/>
              <a:t>Vehicle Sel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  <a:ln w="3175">
            <a:solidFill>
              <a:schemeClr val="tx1"/>
            </a:solidFill>
          </a:ln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Sequence Flow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786630" y="1619829"/>
            <a:ext cx="1397876" cy="420414"/>
          </a:xfrm>
          <a:prstGeom prst="rect">
            <a:avLst/>
          </a:prstGeom>
          <a:solidFill>
            <a:srgbClr val="B1C3B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140730" y="1619829"/>
            <a:ext cx="1397876" cy="420414"/>
          </a:xfrm>
          <a:prstGeom prst="rect">
            <a:avLst/>
          </a:prstGeom>
          <a:solidFill>
            <a:srgbClr val="B2CA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494830" y="1619829"/>
            <a:ext cx="1397876" cy="420414"/>
          </a:xfrm>
          <a:prstGeom prst="rect">
            <a:avLst/>
          </a:prstGeom>
          <a:solidFill>
            <a:srgbClr val="DF9A9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848930" y="1619829"/>
            <a:ext cx="1397876" cy="420414"/>
          </a:xfrm>
          <a:prstGeom prst="rect">
            <a:avLst/>
          </a:prstGeom>
          <a:solidFill>
            <a:srgbClr val="FFC299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045880" y="1619829"/>
            <a:ext cx="1397876" cy="420414"/>
          </a:xfrm>
          <a:prstGeom prst="rect">
            <a:avLst/>
          </a:prstGeom>
          <a:solidFill>
            <a:srgbClr val="FEE372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>
            <a:stCxn id="6" idx="2"/>
          </p:cNvCxnSpPr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3263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 smtClean="0"/>
              <a:t>ES-S 002:</a:t>
            </a: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Vehicle Information and Pictu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user I want to have the information of the vehicle displayed (pictures, options</a:t>
            </a:r>
            <a:r>
              <a:rPr lang="en-US" dirty="0" smtClean="0"/>
              <a:t>,...)</a:t>
            </a:r>
            <a:endParaRPr lang="en-US" dirty="0"/>
          </a:p>
          <a:p>
            <a:pPr marL="0" indent="0">
              <a:buNone/>
            </a:pPr>
            <a:r>
              <a:rPr lang="en-US" dirty="0" smtClean="0"/>
              <a:t>so </a:t>
            </a:r>
            <a:r>
              <a:rPr lang="en-US" dirty="0"/>
              <a:t>that I can see which car I want to purchase / finance. 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>
                <a:solidFill>
                  <a:srgbClr val="172B4D"/>
                </a:solidFill>
              </a:rPr>
              <a:t>The vehicle and the transaction price is already negotiated offline between user and sales manager.</a:t>
            </a:r>
          </a:p>
          <a:p>
            <a:r>
              <a:rPr lang="en-US" sz="1600" dirty="0">
                <a:solidFill>
                  <a:srgbClr val="172B4D"/>
                </a:solidFill>
              </a:rPr>
              <a:t>No pipeline check necessary.</a:t>
            </a:r>
          </a:p>
          <a:p>
            <a:r>
              <a:rPr lang="en-US" sz="1600" dirty="0">
                <a:solidFill>
                  <a:srgbClr val="172B4D"/>
                </a:solidFill>
              </a:rPr>
              <a:t>User is logged in / registered. 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 smtClean="0">
                <a:solidFill>
                  <a:srgbClr val="172B4D"/>
                </a:solidFill>
              </a:rPr>
              <a:t>XXX</a:t>
            </a:r>
            <a:endParaRPr lang="en-US" sz="1600" dirty="0">
              <a:solidFill>
                <a:srgbClr val="172B4D"/>
              </a:solidFill>
            </a:endParaRPr>
          </a:p>
          <a:p>
            <a:pPr marL="0" lv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pPr marL="342900" lvl="0" indent="-342900">
              <a:buAutoNum type="arabicPeriod"/>
            </a:pPr>
            <a:r>
              <a:rPr lang="en-US" sz="1600" dirty="0">
                <a:solidFill>
                  <a:srgbClr val="172B4D"/>
                </a:solidFill>
              </a:rPr>
              <a:t>The user selected the vehicle series by clicking / swiping. A picture of the respective series is displayed.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Options of the vehicle can be selected the prices / pictures are displayed </a:t>
            </a: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0794127" y="1048658"/>
            <a:ext cx="1229710" cy="38888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Legal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0794127" y="152975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</a:p>
        </p:txBody>
      </p:sp>
      <p:sp>
        <p:nvSpPr>
          <p:cNvPr id="16" name="Oval 15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10268610" y="1048658"/>
            <a:ext cx="399393" cy="388881"/>
          </a:xfrm>
          <a:prstGeom prst="ellipse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10268610" y="152975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0794127" y="201085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mpliance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10268610" y="201085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0238949" y="86098"/>
            <a:ext cx="1784888" cy="371274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OWNER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:  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PO (BA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)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0794127" y="2491952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ecurity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10268610" y="2491953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8646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 smtClean="0"/>
              <a:t>ES-S </a:t>
            </a:r>
            <a:r>
              <a:rPr lang="en-US" dirty="0"/>
              <a:t>002</a:t>
            </a:r>
            <a:br>
              <a:rPr lang="en-US" dirty="0"/>
            </a:br>
            <a:r>
              <a:rPr lang="en-US" dirty="0"/>
              <a:t>Vehicle Information and Pi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2"/>
          <a:srcRect l="2796" t="5352" r="2385" b="81591"/>
          <a:stretch/>
        </p:blipFill>
        <p:spPr>
          <a:xfrm>
            <a:off x="4744946" y="2344795"/>
            <a:ext cx="2702108" cy="77119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3"/>
          <a:srcRect l="1873" t="50526" r="2375" b="3263"/>
          <a:stretch/>
        </p:blipFill>
        <p:spPr>
          <a:xfrm>
            <a:off x="4744946" y="3125874"/>
            <a:ext cx="2702108" cy="2295846"/>
          </a:xfrm>
          <a:prstGeom prst="rect">
            <a:avLst/>
          </a:prstGeom>
          <a:ln w="12700">
            <a:solidFill>
              <a:schemeClr val="accent1"/>
            </a:solidFill>
          </a:ln>
        </p:spPr>
      </p:pic>
      <p:sp>
        <p:nvSpPr>
          <p:cNvPr id="21" name="TextBox 20"/>
          <p:cNvSpPr txBox="1"/>
          <p:nvPr/>
        </p:nvSpPr>
        <p:spPr>
          <a:xfrm>
            <a:off x="4794261" y="4441891"/>
            <a:ext cx="577402" cy="276999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1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Model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318984" y="4458493"/>
            <a:ext cx="720325" cy="276999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1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Package</a:t>
            </a:r>
          </a:p>
        </p:txBody>
      </p:sp>
      <p:sp>
        <p:nvSpPr>
          <p:cNvPr id="19" name="Rectangle 18"/>
          <p:cNvSpPr/>
          <p:nvPr/>
        </p:nvSpPr>
        <p:spPr>
          <a:xfrm>
            <a:off x="5359288" y="3242410"/>
            <a:ext cx="1473423" cy="1026676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" name="Oval 3"/>
          <p:cNvSpPr/>
          <p:nvPr/>
        </p:nvSpPr>
        <p:spPr>
          <a:xfrm>
            <a:off x="5468108" y="1052513"/>
            <a:ext cx="2946400" cy="1373996"/>
          </a:xfrm>
          <a:prstGeom prst="ellipse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icture?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Options?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SP Products? 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69900" y="1526794"/>
            <a:ext cx="2603081" cy="4594605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9119019" y="1526795"/>
            <a:ext cx="2603081" cy="4594605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3271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heme/theme1.xml><?xml version="1.0" encoding="utf-8"?>
<a:theme xmlns:a="http://schemas.openxmlformats.org/drawingml/2006/main" name="BMW Group 16:9">
  <a:themeElements>
    <a:clrScheme name="Benutzerdefiniert 68">
      <a:dk1>
        <a:srgbClr val="000000"/>
      </a:dk1>
      <a:lt1>
        <a:sysClr val="window" lastClr="FFFFFF"/>
      </a:lt1>
      <a:dk2>
        <a:srgbClr val="404040"/>
      </a:dk2>
      <a:lt2>
        <a:srgbClr val="92A2BD"/>
      </a:lt2>
      <a:accent1>
        <a:srgbClr val="667184"/>
      </a:accent1>
      <a:accent2>
        <a:srgbClr val="92A2BD"/>
      </a:accent2>
      <a:accent3>
        <a:srgbClr val="ADB9CE"/>
      </a:accent3>
      <a:accent4>
        <a:srgbClr val="C9D1DE"/>
      </a:accent4>
      <a:accent5>
        <a:srgbClr val="E4E8EE"/>
      </a:accent5>
      <a:accent6>
        <a:srgbClr val="DDDAD2"/>
      </a:accent6>
      <a:hlink>
        <a:srgbClr val="000000"/>
      </a:hlink>
      <a:folHlink>
        <a:srgbClr val="00000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CCCCC"/>
        </a:solidFill>
        <a:ln w="9525">
          <a:solidFill>
            <a:srgbClr val="CCCCCC"/>
          </a:solidFill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extraClrSchemeLst/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BMWGroup_FS_BMW+MINI+RR_Zusatzbegriff_E_16zu9.pptx" id="{84844328-F1CC-4A35-9085-C869E2533542}" vid="{09338282-BEEE-4034-A323-258CEF5B5013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enutzerdefiniert 4">
      <a:majorFont>
        <a:latin typeface="BMW Group"/>
        <a:ea typeface=""/>
        <a:cs typeface=""/>
      </a:majorFont>
      <a:minorFont>
        <a:latin typeface="BMW Group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MWGroup_FS_BMW+MINI+RR_E_16zu9</Template>
  <TotalTime>0</TotalTime>
  <Words>1668</Words>
  <Application>Microsoft Office PowerPoint</Application>
  <PresentationFormat>Widescreen</PresentationFormat>
  <Paragraphs>288</Paragraphs>
  <Slides>27</Slides>
  <Notes>0</Notes>
  <HiddenSlides>5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6" baseType="lpstr">
      <vt:lpstr>BMW Type Global Pro Regular</vt:lpstr>
      <vt:lpstr>Arial</vt:lpstr>
      <vt:lpstr>BMW Group</vt:lpstr>
      <vt:lpstr>BMW Group Condensed</vt:lpstr>
      <vt:lpstr>BMW Group Condensed Bold</vt:lpstr>
      <vt:lpstr>BMW Group Light</vt:lpstr>
      <vt:lpstr>Symbol</vt:lpstr>
      <vt:lpstr>Wingdings</vt:lpstr>
      <vt:lpstr>BMW Group 16:9</vt:lpstr>
      <vt:lpstr>PowerPoint Presentation</vt:lpstr>
      <vt:lpstr>EF-EP-004: Products Selection (Dealer &amp; Vehicle)</vt:lpstr>
      <vt:lpstr>Story ID: EF-EP-004-ES-S 001: </vt:lpstr>
      <vt:lpstr>Story ID: EF-EP-004-ES-S 001 Vehicle Selection </vt:lpstr>
      <vt:lpstr>Story ID: EF-EP-004-ES-S 001 Vehicle Selection</vt:lpstr>
      <vt:lpstr>Story ID: EF-EP-004-ES-S 001 Vehicle Selection</vt:lpstr>
      <vt:lpstr>Story ID: EF-EP-004-ES-S 001 Vehicle Selection</vt:lpstr>
      <vt:lpstr>Story ID: EF-EP-004-ES-S 002: Vehicle Information and Picture</vt:lpstr>
      <vt:lpstr>Story ID: EF-EP-004-ES-S 002 Vehicle Information and Picture</vt:lpstr>
      <vt:lpstr>Story ID: EF-EP-004-ES-S 002 Vehicle Information and Picture</vt:lpstr>
      <vt:lpstr>Story ID: EF-EP-004-ES-S 002 Vehicle Information and Picture</vt:lpstr>
      <vt:lpstr>Story ID: EF-EP-004-ES-S 002 Vehicle Information and Picture </vt:lpstr>
      <vt:lpstr>Story ID: EF-EP-004-ES-S 004: Select Dealership</vt:lpstr>
      <vt:lpstr>Story ID: EF-EP-004-ES-S 004 Select Dealership</vt:lpstr>
      <vt:lpstr>Story ID: EF-EP-004-ES-S 004 Select Dealership</vt:lpstr>
      <vt:lpstr>Story ID: EF-EP-004-ES-S 004 Select Dealership</vt:lpstr>
      <vt:lpstr>Story ID: EF-EP-004-ES-S 004 Select Dealership </vt:lpstr>
      <vt:lpstr>Story ID: EF-EP-004-ES-S 005: Quotation Price  </vt:lpstr>
      <vt:lpstr>Story ID: EF-EP-004-ES-S 005 Quotation Price</vt:lpstr>
      <vt:lpstr>Story ID: EF-EP-004-ES-S 005 Quotation Price</vt:lpstr>
      <vt:lpstr>Story ID: EF-EP-004-ES-S 005 Quotation Price</vt:lpstr>
      <vt:lpstr>Story ID: EF-EP-004-ES-S 005 Quotation Price</vt:lpstr>
      <vt:lpstr>Story ID: EF-EP-004-ES-S 006: LBS Dealership selection </vt:lpstr>
      <vt:lpstr>Story ID: EF-EP-004-ES-S 006 LBS Dealership selection </vt:lpstr>
      <vt:lpstr>Story ID: EF-EP-004-ES-S 006 LBS Dealership selection </vt:lpstr>
      <vt:lpstr>Story ID: EF-EP-004-ES-S 006 LBS Dealership selection </vt:lpstr>
      <vt:lpstr>Story ID: EF-EP-004-ES-S 006 LBS Dealership selection</vt:lpstr>
    </vt:vector>
  </TitlesOfParts>
  <Company>BMW 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felein Maximilian, SF3-CN-M</dc:creator>
  <cp:lastModifiedBy>Befelein Maximilian, SF5-CN-V-23</cp:lastModifiedBy>
  <cp:revision>212</cp:revision>
  <dcterms:created xsi:type="dcterms:W3CDTF">2017-04-27T07:24:45Z</dcterms:created>
  <dcterms:modified xsi:type="dcterms:W3CDTF">2018-10-11T07:51:55Z</dcterms:modified>
</cp:coreProperties>
</file>